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</p:sldMasterIdLst>
  <p:notesMasterIdLst>
    <p:notesMasterId r:id="rId10"/>
  </p:notesMasterIdLst>
  <p:sldIdLst>
    <p:sldId id="792" r:id="rId2"/>
    <p:sldId id="267" r:id="rId3"/>
    <p:sldId id="735" r:id="rId4"/>
    <p:sldId id="806" r:id="rId5"/>
    <p:sldId id="808" r:id="rId6"/>
    <p:sldId id="800" r:id="rId7"/>
    <p:sldId id="802" r:id="rId8"/>
    <p:sldId id="803" r:id="rId9"/>
  </p:sldIdLst>
  <p:sldSz cx="12192000" cy="6858000"/>
  <p:notesSz cx="6858000" cy="9144000"/>
  <p:embeddedFontLst>
    <p:embeddedFont>
      <p:font typeface="Arial Narrow" panose="020B0606020202030204" pitchFamily="34" charset="0"/>
      <p:regular r:id="rId11"/>
      <p:bold r:id="rId12"/>
      <p:italic r:id="rId13"/>
      <p:boldItalic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libri Light" panose="020F0302020204030204" pitchFamily="34" charset="0"/>
      <p:regular r:id="rId19"/>
      <p:italic r:id="rId2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zza magdy" initials="pm" lastIdx="1" clrIdx="0">
    <p:extLst>
      <p:ext uri="{19B8F6BF-5375-455C-9EA6-DF929625EA0E}">
        <p15:presenceInfo xmlns:p15="http://schemas.microsoft.com/office/powerpoint/2012/main" userId="ac1ce3788096011b" providerId="Windows Live"/>
      </p:ext>
    </p:extLst>
  </p:cmAuthor>
  <p:cmAuthor id="2" name="momen elshamy" initials="me" lastIdx="5" clrIdx="1">
    <p:extLst>
      <p:ext uri="{19B8F6BF-5375-455C-9EA6-DF929625EA0E}">
        <p15:presenceInfo xmlns:p15="http://schemas.microsoft.com/office/powerpoint/2012/main" userId="ad31ee44aa240ec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DFDF"/>
    <a:srgbClr val="F5F5F5"/>
    <a:srgbClr val="FFFFFF"/>
    <a:srgbClr val="131F27"/>
    <a:srgbClr val="122A2C"/>
    <a:srgbClr val="173535"/>
    <a:srgbClr val="1B1E20"/>
    <a:srgbClr val="040E1A"/>
    <a:srgbClr val="00648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86420"/>
  </p:normalViewPr>
  <p:slideViewPr>
    <p:cSldViewPr snapToGrid="0" snapToObjects="1">
      <p:cViewPr>
        <p:scale>
          <a:sx n="75" d="100"/>
          <a:sy n="75" d="100"/>
        </p:scale>
        <p:origin x="965" y="288"/>
      </p:cViewPr>
      <p:guideLst/>
    </p:cSldViewPr>
  </p:slideViewPr>
  <p:outlineViewPr>
    <p:cViewPr>
      <p:scale>
        <a:sx n="33" d="100"/>
        <a:sy n="33" d="100"/>
      </p:scale>
      <p:origin x="0" y="-12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dirty="0"/>
              <a:t>SV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6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5:$K$5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6:$K$6</c:f>
              <c:numCache>
                <c:formatCode>General</c:formatCode>
                <c:ptCount val="3"/>
                <c:pt idx="0">
                  <c:v>0.47</c:v>
                </c:pt>
                <c:pt idx="1">
                  <c:v>0.71</c:v>
                </c:pt>
                <c:pt idx="2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F4-45DC-8508-0D10DC5D4E9A}"/>
            </c:ext>
          </c:extLst>
        </c:ser>
        <c:ser>
          <c:idx val="1"/>
          <c:order val="1"/>
          <c:tx>
            <c:strRef>
              <c:f>Sheet1!$H$7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5:$K$5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7:$K$7</c:f>
              <c:numCache>
                <c:formatCode>General</c:formatCode>
                <c:ptCount val="3"/>
                <c:pt idx="0">
                  <c:v>0.16</c:v>
                </c:pt>
                <c:pt idx="1">
                  <c:v>0.31</c:v>
                </c:pt>
                <c:pt idx="2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F4-45DC-8508-0D10DC5D4E9A}"/>
            </c:ext>
          </c:extLst>
        </c:ser>
        <c:ser>
          <c:idx val="2"/>
          <c:order val="2"/>
          <c:tx>
            <c:strRef>
              <c:f>Sheet1!$H$8</c:f>
              <c:strCache>
                <c:ptCount val="1"/>
                <c:pt idx="0">
                  <c:v>Positiv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5:$K$5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8:$K$8</c:f>
              <c:numCache>
                <c:formatCode>General</c:formatCode>
                <c:ptCount val="3"/>
                <c:pt idx="0">
                  <c:v>0.97</c:v>
                </c:pt>
                <c:pt idx="1">
                  <c:v>0.89</c:v>
                </c:pt>
                <c:pt idx="2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F4-45DC-8508-0D10DC5D4E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382157983"/>
        <c:axId val="1289773903"/>
      </c:barChart>
      <c:catAx>
        <c:axId val="13821579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9773903"/>
        <c:crosses val="autoZero"/>
        <c:auto val="1"/>
        <c:lblAlgn val="ctr"/>
        <c:lblOffset val="100"/>
        <c:noMultiLvlLbl val="0"/>
      </c:catAx>
      <c:valAx>
        <c:axId val="128977390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8215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/>
              <a:t>Naive</a:t>
            </a:r>
            <a:r>
              <a:rPr lang="en-CA" baseline="0"/>
              <a:t> bayes classifier</a:t>
            </a:r>
            <a:endParaRPr lang="en-CA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34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33:$K$3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34:$K$34</c:f>
              <c:numCache>
                <c:formatCode>General</c:formatCode>
                <c:ptCount val="3"/>
                <c:pt idx="0">
                  <c:v>0.76</c:v>
                </c:pt>
                <c:pt idx="1">
                  <c:v>0.88</c:v>
                </c:pt>
                <c:pt idx="2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5-4C39-B2FC-8529C1C7159C}"/>
            </c:ext>
          </c:extLst>
        </c:ser>
        <c:ser>
          <c:idx val="1"/>
          <c:order val="1"/>
          <c:tx>
            <c:strRef>
              <c:f>Sheet1!$H$35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33:$K$3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35:$K$35</c:f>
              <c:numCache>
                <c:formatCode>General</c:formatCode>
                <c:ptCount val="3"/>
                <c:pt idx="0">
                  <c:v>0.72</c:v>
                </c:pt>
                <c:pt idx="1">
                  <c:v>0.71</c:v>
                </c:pt>
                <c:pt idx="2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25-4C39-B2FC-8529C1C7159C}"/>
            </c:ext>
          </c:extLst>
        </c:ser>
        <c:ser>
          <c:idx val="2"/>
          <c:order val="2"/>
          <c:tx>
            <c:strRef>
              <c:f>Sheet1!$H$36</c:f>
              <c:strCache>
                <c:ptCount val="1"/>
                <c:pt idx="0">
                  <c:v>Positiv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33:$K$3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36:$K$36</c:f>
              <c:numCache>
                <c:formatCode>General</c:formatCode>
                <c:ptCount val="3"/>
                <c:pt idx="0">
                  <c:v>0.86</c:v>
                </c:pt>
                <c:pt idx="1">
                  <c:v>0.74</c:v>
                </c:pt>
                <c:pt idx="2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25-4C39-B2FC-8529C1C715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476678383"/>
        <c:axId val="1380604895"/>
      </c:barChart>
      <c:catAx>
        <c:axId val="14766783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604895"/>
        <c:crosses val="autoZero"/>
        <c:auto val="1"/>
        <c:lblAlgn val="ctr"/>
        <c:lblOffset val="100"/>
        <c:noMultiLvlLbl val="0"/>
      </c:catAx>
      <c:valAx>
        <c:axId val="138060489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76678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5F5F5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/>
              <a:t>Decision</a:t>
            </a:r>
            <a:r>
              <a:rPr lang="en-CA" baseline="0"/>
              <a:t> Tree Classifier </a:t>
            </a:r>
            <a:endParaRPr lang="en-CA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44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43:$K$4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44:$K$44</c:f>
              <c:numCache>
                <c:formatCode>General</c:formatCode>
                <c:ptCount val="3"/>
                <c:pt idx="0">
                  <c:v>0.83</c:v>
                </c:pt>
                <c:pt idx="1">
                  <c:v>0.82</c:v>
                </c:pt>
                <c:pt idx="2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31-477E-A128-160F0A8DBE8D}"/>
            </c:ext>
          </c:extLst>
        </c:ser>
        <c:ser>
          <c:idx val="1"/>
          <c:order val="1"/>
          <c:tx>
            <c:strRef>
              <c:f>Sheet1!$H$45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43:$K$4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45:$K$45</c:f>
              <c:numCache>
                <c:formatCode>General</c:formatCode>
                <c:ptCount val="3"/>
                <c:pt idx="0">
                  <c:v>0.87</c:v>
                </c:pt>
                <c:pt idx="1">
                  <c:v>0.87</c:v>
                </c:pt>
                <c:pt idx="2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31-477E-A128-160F0A8DBE8D}"/>
            </c:ext>
          </c:extLst>
        </c:ser>
        <c:ser>
          <c:idx val="2"/>
          <c:order val="2"/>
          <c:tx>
            <c:strRef>
              <c:f>Sheet1!$H$46</c:f>
              <c:strCache>
                <c:ptCount val="1"/>
                <c:pt idx="0">
                  <c:v>Positiv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43:$K$43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46:$K$46</c:f>
              <c:numCache>
                <c:formatCode>General</c:formatCode>
                <c:ptCount val="3"/>
                <c:pt idx="0">
                  <c:v>0.84</c:v>
                </c:pt>
                <c:pt idx="1">
                  <c:v>0.85</c:v>
                </c:pt>
                <c:pt idx="2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31-477E-A128-160F0A8DBE8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487217855"/>
        <c:axId val="1380609887"/>
      </c:barChart>
      <c:catAx>
        <c:axId val="14872178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609887"/>
        <c:crosses val="autoZero"/>
        <c:auto val="1"/>
        <c:lblAlgn val="ctr"/>
        <c:lblOffset val="100"/>
        <c:noMultiLvlLbl val="0"/>
      </c:catAx>
      <c:valAx>
        <c:axId val="138060988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87217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/>
              <a:t>Random</a:t>
            </a:r>
            <a:r>
              <a:rPr lang="en-CA" baseline="0"/>
              <a:t> Forest Classifier</a:t>
            </a:r>
            <a:endParaRPr lang="en-CA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61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60:$K$60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61:$K$61</c:f>
              <c:numCache>
                <c:formatCode>General</c:formatCode>
                <c:ptCount val="3"/>
                <c:pt idx="0">
                  <c:v>0.61</c:v>
                </c:pt>
                <c:pt idx="1">
                  <c:v>0.61</c:v>
                </c:pt>
                <c:pt idx="2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9F-457E-9501-3B8B88D7DB7A}"/>
            </c:ext>
          </c:extLst>
        </c:ser>
        <c:ser>
          <c:idx val="1"/>
          <c:order val="1"/>
          <c:tx>
            <c:strRef>
              <c:f>Sheet1!$H$62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60:$K$60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62:$K$62</c:f>
              <c:numCache>
                <c:formatCode>General</c:formatCode>
                <c:ptCount val="3"/>
                <c:pt idx="0">
                  <c:v>0.71</c:v>
                </c:pt>
                <c:pt idx="1">
                  <c:v>0.8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9F-457E-9501-3B8B88D7DB7A}"/>
            </c:ext>
          </c:extLst>
        </c:ser>
        <c:ser>
          <c:idx val="2"/>
          <c:order val="2"/>
          <c:tx>
            <c:strRef>
              <c:f>Sheet1!$H$63</c:f>
              <c:strCache>
                <c:ptCount val="1"/>
                <c:pt idx="0">
                  <c:v>Positiv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60:$K$60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63:$K$63</c:f>
              <c:numCache>
                <c:formatCode>General</c:formatCode>
                <c:ptCount val="3"/>
                <c:pt idx="0">
                  <c:v>0.76</c:v>
                </c:pt>
                <c:pt idx="1">
                  <c:v>0.67</c:v>
                </c:pt>
                <c:pt idx="2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9F-457E-9501-3B8B88D7DB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484275103"/>
        <c:axId val="1380596991"/>
      </c:barChart>
      <c:catAx>
        <c:axId val="148427510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596991"/>
        <c:crosses val="autoZero"/>
        <c:auto val="1"/>
        <c:lblAlgn val="ctr"/>
        <c:lblOffset val="100"/>
        <c:noMultiLvlLbl val="0"/>
      </c:catAx>
      <c:valAx>
        <c:axId val="138059699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842751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/>
              <a:t>K</a:t>
            </a:r>
            <a:r>
              <a:rPr lang="en-CA" baseline="0"/>
              <a:t> Nearest Neighbour</a:t>
            </a:r>
            <a:endParaRPr lang="en-CA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73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72:$K$72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73:$K$73</c:f>
              <c:numCache>
                <c:formatCode>General</c:formatCode>
                <c:ptCount val="3"/>
                <c:pt idx="0">
                  <c:v>0.67</c:v>
                </c:pt>
                <c:pt idx="1">
                  <c:v>0.72</c:v>
                </c:pt>
                <c:pt idx="2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9D-4231-9C13-13EACCFE0BC7}"/>
            </c:ext>
          </c:extLst>
        </c:ser>
        <c:ser>
          <c:idx val="1"/>
          <c:order val="1"/>
          <c:tx>
            <c:strRef>
              <c:f>Sheet1!$H$74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72:$K$72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74:$K$74</c:f>
              <c:numCache>
                <c:formatCode>General</c:formatCode>
                <c:ptCount val="3"/>
                <c:pt idx="0">
                  <c:v>0.92</c:v>
                </c:pt>
                <c:pt idx="1">
                  <c:v>0.59</c:v>
                </c:pt>
                <c:pt idx="2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9D-4231-9C13-13EACCFE0BC7}"/>
            </c:ext>
          </c:extLst>
        </c:ser>
        <c:ser>
          <c:idx val="2"/>
          <c:order val="2"/>
          <c:tx>
            <c:strRef>
              <c:f>Sheet1!$H$75</c:f>
              <c:strCache>
                <c:ptCount val="1"/>
                <c:pt idx="0">
                  <c:v>Positiv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I$72:$K$72</c:f>
              <c:strCache>
                <c:ptCount val="3"/>
                <c:pt idx="0">
                  <c:v>Precision</c:v>
                </c:pt>
                <c:pt idx="1">
                  <c:v>Recall</c:v>
                </c:pt>
                <c:pt idx="2">
                  <c:v>F1-Score</c:v>
                </c:pt>
              </c:strCache>
            </c:strRef>
          </c:cat>
          <c:val>
            <c:numRef>
              <c:f>Sheet1!$I$75:$K$75</c:f>
              <c:numCache>
                <c:formatCode>General</c:formatCode>
                <c:ptCount val="3"/>
                <c:pt idx="0">
                  <c:v>0.61</c:v>
                </c:pt>
                <c:pt idx="1">
                  <c:v>0.79</c:v>
                </c:pt>
                <c:pt idx="2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9D-4231-9C13-13EACCFE0B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478666415"/>
        <c:axId val="1380611967"/>
      </c:barChart>
      <c:catAx>
        <c:axId val="14786664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611967"/>
        <c:crosses val="autoZero"/>
        <c:auto val="1"/>
        <c:lblAlgn val="ctr"/>
        <c:lblOffset val="100"/>
        <c:noMultiLvlLbl val="0"/>
      </c:catAx>
      <c:valAx>
        <c:axId val="13806119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78666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E95ED-00FE-AF46-85DE-8E5B7C8DA4E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7B16A9-594D-E044-BF05-932AC9E199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764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EFD5B-F522-3B4E-A892-3A347DF3C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246884-EF8F-EA40-A95D-4017593DA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A7786D-B23B-8C48-B150-172798EDA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0070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AD6BA4E-A8A8-1E44-9C22-220BF12EFE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46289" y="-9728"/>
            <a:ext cx="5945712" cy="5554495"/>
          </a:xfrm>
          <a:custGeom>
            <a:avLst/>
            <a:gdLst>
              <a:gd name="connsiteX0" fmla="*/ 2294196 w 5945712"/>
              <a:gd name="connsiteY0" fmla="*/ 1 h 5554495"/>
              <a:gd name="connsiteX1" fmla="*/ 2874680 w 5945712"/>
              <a:gd name="connsiteY1" fmla="*/ 1 h 5554495"/>
              <a:gd name="connsiteX2" fmla="*/ 2846505 w 5945712"/>
              <a:gd name="connsiteY2" fmla="*/ 368945 h 5554495"/>
              <a:gd name="connsiteX3" fmla="*/ 5168731 w 5945712"/>
              <a:gd name="connsiteY3" fmla="*/ 2733673 h 5554495"/>
              <a:gd name="connsiteX4" fmla="*/ 5945711 w 5945712"/>
              <a:gd name="connsiteY4" fmla="*/ 2598006 h 5554495"/>
              <a:gd name="connsiteX5" fmla="*/ 5945711 w 5945712"/>
              <a:gd name="connsiteY5" fmla="*/ 2901121 h 5554495"/>
              <a:gd name="connsiteX6" fmla="*/ 4227642 w 5945712"/>
              <a:gd name="connsiteY6" fmla="*/ 3674916 h 5554495"/>
              <a:gd name="connsiteX7" fmla="*/ 1905415 w 5945712"/>
              <a:gd name="connsiteY7" fmla="*/ 1310188 h 5554495"/>
              <a:gd name="connsiteX8" fmla="*/ 2294196 w 5945712"/>
              <a:gd name="connsiteY8" fmla="*/ 1 h 5554495"/>
              <a:gd name="connsiteX9" fmla="*/ 857815 w 5945712"/>
              <a:gd name="connsiteY9" fmla="*/ 1 h 5554495"/>
              <a:gd name="connsiteX10" fmla="*/ 1485557 w 5945712"/>
              <a:gd name="connsiteY10" fmla="*/ 1 h 5554495"/>
              <a:gd name="connsiteX11" fmla="*/ 1370970 w 5945712"/>
              <a:gd name="connsiteY11" fmla="*/ 878785 h 5554495"/>
              <a:gd name="connsiteX12" fmla="*/ 4576194 w 5945712"/>
              <a:gd name="connsiteY12" fmla="*/ 4183302 h 5554495"/>
              <a:gd name="connsiteX13" fmla="*/ 5945712 w 5945712"/>
              <a:gd name="connsiteY13" fmla="*/ 3867259 h 5554495"/>
              <a:gd name="connsiteX14" fmla="*/ 5945712 w 5945712"/>
              <a:gd name="connsiteY14" fmla="*/ 3964608 h 5554495"/>
              <a:gd name="connsiteX15" fmla="*/ 3205224 w 5945712"/>
              <a:gd name="connsiteY15" fmla="*/ 5554495 h 5554495"/>
              <a:gd name="connsiteX16" fmla="*/ 0 w 5945712"/>
              <a:gd name="connsiteY16" fmla="*/ 2249978 h 5554495"/>
              <a:gd name="connsiteX17" fmla="*/ 857815 w 5945712"/>
              <a:gd name="connsiteY17" fmla="*/ 1 h 5554495"/>
              <a:gd name="connsiteX18" fmla="*/ 3522375 w 5945712"/>
              <a:gd name="connsiteY18" fmla="*/ 0 h 5554495"/>
              <a:gd name="connsiteX19" fmla="*/ 5125344 w 5945712"/>
              <a:gd name="connsiteY19" fmla="*/ 0 h 5554495"/>
              <a:gd name="connsiteX20" fmla="*/ 5836236 w 5945712"/>
              <a:gd name="connsiteY20" fmla="*/ 0 h 5554495"/>
              <a:gd name="connsiteX21" fmla="*/ 5945710 w 5945712"/>
              <a:gd name="connsiteY21" fmla="*/ 0 h 5554495"/>
              <a:gd name="connsiteX22" fmla="*/ 5945710 w 5945712"/>
              <a:gd name="connsiteY22" fmla="*/ 224155 h 5554495"/>
              <a:gd name="connsiteX23" fmla="*/ 5945710 w 5945712"/>
              <a:gd name="connsiteY23" fmla="*/ 719847 h 5554495"/>
              <a:gd name="connsiteX24" fmla="*/ 5945710 w 5945712"/>
              <a:gd name="connsiteY24" fmla="*/ 1181900 h 5554495"/>
              <a:gd name="connsiteX25" fmla="*/ 4679305 w 5945712"/>
              <a:gd name="connsiteY25" fmla="*/ 2056790 h 5554495"/>
              <a:gd name="connsiteX26" fmla="*/ 3325763 w 5945712"/>
              <a:gd name="connsiteY26" fmla="*/ 703027 h 5554495"/>
              <a:gd name="connsiteX27" fmla="*/ 3522375 w 5945712"/>
              <a:gd name="connsiteY27" fmla="*/ 0 h 555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945712" h="5554495">
                <a:moveTo>
                  <a:pt x="2294196" y="1"/>
                </a:moveTo>
                <a:lnTo>
                  <a:pt x="2874680" y="1"/>
                </a:lnTo>
                <a:cubicBezTo>
                  <a:pt x="2855902" y="122084"/>
                  <a:pt x="2846483" y="245425"/>
                  <a:pt x="2846505" y="368945"/>
                </a:cubicBezTo>
                <a:cubicBezTo>
                  <a:pt x="2846505" y="1674949"/>
                  <a:pt x="3886352" y="2733673"/>
                  <a:pt x="5168731" y="2733673"/>
                </a:cubicBezTo>
                <a:cubicBezTo>
                  <a:pt x="5433636" y="2733918"/>
                  <a:pt x="5696559" y="2688010"/>
                  <a:pt x="5945711" y="2598006"/>
                </a:cubicBezTo>
                <a:lnTo>
                  <a:pt x="5945711" y="2901121"/>
                </a:lnTo>
                <a:cubicBezTo>
                  <a:pt x="5520943" y="3376507"/>
                  <a:pt x="4908538" y="3674916"/>
                  <a:pt x="4227642" y="3674916"/>
                </a:cubicBezTo>
                <a:cubicBezTo>
                  <a:pt x="2945261" y="3674916"/>
                  <a:pt x="1905415" y="2616192"/>
                  <a:pt x="1905415" y="1310188"/>
                </a:cubicBezTo>
                <a:cubicBezTo>
                  <a:pt x="1905415" y="825593"/>
                  <a:pt x="2048583" y="375045"/>
                  <a:pt x="2294196" y="1"/>
                </a:cubicBezTo>
                <a:close/>
                <a:moveTo>
                  <a:pt x="857815" y="1"/>
                </a:moveTo>
                <a:lnTo>
                  <a:pt x="1485557" y="1"/>
                </a:lnTo>
                <a:cubicBezTo>
                  <a:pt x="1409236" y="286683"/>
                  <a:pt x="1370714" y="582114"/>
                  <a:pt x="1370970" y="878785"/>
                </a:cubicBezTo>
                <a:cubicBezTo>
                  <a:pt x="1370970" y="2703808"/>
                  <a:pt x="2805986" y="4183302"/>
                  <a:pt x="4576194" y="4183302"/>
                </a:cubicBezTo>
                <a:cubicBezTo>
                  <a:pt x="5050819" y="4183742"/>
                  <a:pt x="5519261" y="4075639"/>
                  <a:pt x="5945712" y="3867259"/>
                </a:cubicBezTo>
                <a:lnTo>
                  <a:pt x="5945712" y="3964608"/>
                </a:lnTo>
                <a:cubicBezTo>
                  <a:pt x="5383411" y="4917820"/>
                  <a:pt x="4366424" y="5554495"/>
                  <a:pt x="3205224" y="5554495"/>
                </a:cubicBezTo>
                <a:cubicBezTo>
                  <a:pt x="1435017" y="5554495"/>
                  <a:pt x="0" y="4075001"/>
                  <a:pt x="0" y="2249978"/>
                </a:cubicBezTo>
                <a:cubicBezTo>
                  <a:pt x="0" y="1380752"/>
                  <a:pt x="325577" y="589933"/>
                  <a:pt x="857815" y="1"/>
                </a:cubicBezTo>
                <a:close/>
                <a:moveTo>
                  <a:pt x="3522375" y="0"/>
                </a:moveTo>
                <a:lnTo>
                  <a:pt x="5125344" y="0"/>
                </a:lnTo>
                <a:lnTo>
                  <a:pt x="5836236" y="0"/>
                </a:lnTo>
                <a:lnTo>
                  <a:pt x="5945710" y="0"/>
                </a:lnTo>
                <a:lnTo>
                  <a:pt x="5945710" y="224155"/>
                </a:lnTo>
                <a:lnTo>
                  <a:pt x="5945710" y="719847"/>
                </a:lnTo>
                <a:lnTo>
                  <a:pt x="5945710" y="1181900"/>
                </a:lnTo>
                <a:cubicBezTo>
                  <a:pt x="5752322" y="1693221"/>
                  <a:pt x="5258250" y="2056790"/>
                  <a:pt x="4679305" y="2056790"/>
                </a:cubicBezTo>
                <a:cubicBezTo>
                  <a:pt x="3931778" y="2056790"/>
                  <a:pt x="3325763" y="1450677"/>
                  <a:pt x="3325763" y="703027"/>
                </a:cubicBezTo>
                <a:cubicBezTo>
                  <a:pt x="3325370" y="455054"/>
                  <a:pt x="3393405" y="211782"/>
                  <a:pt x="3522375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18900000" algn="b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4832B-254B-5942-9642-C5F34DCDD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51EEC4-60E9-554B-9BE0-DC47912BA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AA39F-0A82-FC44-BCF4-9B038D011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661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729A5E4-A73D-CA4B-9BC8-AEFB81327C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729" y="-19456"/>
            <a:ext cx="5946438" cy="5554495"/>
          </a:xfrm>
          <a:custGeom>
            <a:avLst/>
            <a:gdLst>
              <a:gd name="connsiteX0" fmla="*/ 4460881 w 5946438"/>
              <a:gd name="connsiteY0" fmla="*/ 1 h 5554495"/>
              <a:gd name="connsiteX1" fmla="*/ 5088623 w 5946438"/>
              <a:gd name="connsiteY1" fmla="*/ 1 h 5554495"/>
              <a:gd name="connsiteX2" fmla="*/ 5946438 w 5946438"/>
              <a:gd name="connsiteY2" fmla="*/ 2249978 h 5554495"/>
              <a:gd name="connsiteX3" fmla="*/ 2741214 w 5946438"/>
              <a:gd name="connsiteY3" fmla="*/ 5554495 h 5554495"/>
              <a:gd name="connsiteX4" fmla="*/ 726 w 5946438"/>
              <a:gd name="connsiteY4" fmla="*/ 3964608 h 5554495"/>
              <a:gd name="connsiteX5" fmla="*/ 726 w 5946438"/>
              <a:gd name="connsiteY5" fmla="*/ 3867259 h 5554495"/>
              <a:gd name="connsiteX6" fmla="*/ 1370244 w 5946438"/>
              <a:gd name="connsiteY6" fmla="*/ 4183302 h 5554495"/>
              <a:gd name="connsiteX7" fmla="*/ 4575468 w 5946438"/>
              <a:gd name="connsiteY7" fmla="*/ 878785 h 5554495"/>
              <a:gd name="connsiteX8" fmla="*/ 4460881 w 5946438"/>
              <a:gd name="connsiteY8" fmla="*/ 1 h 5554495"/>
              <a:gd name="connsiteX9" fmla="*/ 3071758 w 5946438"/>
              <a:gd name="connsiteY9" fmla="*/ 1 h 5554495"/>
              <a:gd name="connsiteX10" fmla="*/ 3652242 w 5946438"/>
              <a:gd name="connsiteY10" fmla="*/ 1 h 5554495"/>
              <a:gd name="connsiteX11" fmla="*/ 4041023 w 5946438"/>
              <a:gd name="connsiteY11" fmla="*/ 1310188 h 5554495"/>
              <a:gd name="connsiteX12" fmla="*/ 1718797 w 5946438"/>
              <a:gd name="connsiteY12" fmla="*/ 3674916 h 5554495"/>
              <a:gd name="connsiteX13" fmla="*/ 727 w 5946438"/>
              <a:gd name="connsiteY13" fmla="*/ 2901121 h 5554495"/>
              <a:gd name="connsiteX14" fmla="*/ 727 w 5946438"/>
              <a:gd name="connsiteY14" fmla="*/ 2598006 h 5554495"/>
              <a:gd name="connsiteX15" fmla="*/ 777707 w 5946438"/>
              <a:gd name="connsiteY15" fmla="*/ 2733673 h 5554495"/>
              <a:gd name="connsiteX16" fmla="*/ 3099933 w 5946438"/>
              <a:gd name="connsiteY16" fmla="*/ 368945 h 5554495"/>
              <a:gd name="connsiteX17" fmla="*/ 3071758 w 5946438"/>
              <a:gd name="connsiteY17" fmla="*/ 1 h 5554495"/>
              <a:gd name="connsiteX18" fmla="*/ 0 w 5946438"/>
              <a:gd name="connsiteY18" fmla="*/ 0 h 5554495"/>
              <a:gd name="connsiteX19" fmla="*/ 110202 w 5946438"/>
              <a:gd name="connsiteY19" fmla="*/ 0 h 5554495"/>
              <a:gd name="connsiteX20" fmla="*/ 820366 w 5946438"/>
              <a:gd name="connsiteY20" fmla="*/ 0 h 5554495"/>
              <a:gd name="connsiteX21" fmla="*/ 2424063 w 5946438"/>
              <a:gd name="connsiteY21" fmla="*/ 0 h 5554495"/>
              <a:gd name="connsiteX22" fmla="*/ 2620675 w 5946438"/>
              <a:gd name="connsiteY22" fmla="*/ 703027 h 5554495"/>
              <a:gd name="connsiteX23" fmla="*/ 1267133 w 5946438"/>
              <a:gd name="connsiteY23" fmla="*/ 2056790 h 5554495"/>
              <a:gd name="connsiteX24" fmla="*/ 728 w 5946438"/>
              <a:gd name="connsiteY24" fmla="*/ 1181900 h 5554495"/>
              <a:gd name="connsiteX25" fmla="*/ 728 w 5946438"/>
              <a:gd name="connsiteY25" fmla="*/ 719847 h 5554495"/>
              <a:gd name="connsiteX26" fmla="*/ 0 w 5946438"/>
              <a:gd name="connsiteY26" fmla="*/ 719847 h 555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46438" h="5554495">
                <a:moveTo>
                  <a:pt x="4460881" y="1"/>
                </a:moveTo>
                <a:lnTo>
                  <a:pt x="5088623" y="1"/>
                </a:lnTo>
                <a:cubicBezTo>
                  <a:pt x="5620861" y="589933"/>
                  <a:pt x="5946438" y="1380752"/>
                  <a:pt x="5946438" y="2249978"/>
                </a:cubicBezTo>
                <a:cubicBezTo>
                  <a:pt x="5946438" y="4075001"/>
                  <a:pt x="4511421" y="5554495"/>
                  <a:pt x="2741214" y="5554495"/>
                </a:cubicBezTo>
                <a:cubicBezTo>
                  <a:pt x="1580015" y="5554495"/>
                  <a:pt x="563027" y="4917820"/>
                  <a:pt x="726" y="3964608"/>
                </a:cubicBezTo>
                <a:lnTo>
                  <a:pt x="726" y="3867259"/>
                </a:lnTo>
                <a:cubicBezTo>
                  <a:pt x="427177" y="4075639"/>
                  <a:pt x="895619" y="4183742"/>
                  <a:pt x="1370244" y="4183302"/>
                </a:cubicBezTo>
                <a:cubicBezTo>
                  <a:pt x="3140451" y="4183302"/>
                  <a:pt x="4575468" y="2703808"/>
                  <a:pt x="4575468" y="878785"/>
                </a:cubicBezTo>
                <a:cubicBezTo>
                  <a:pt x="4575724" y="582114"/>
                  <a:pt x="4537202" y="286683"/>
                  <a:pt x="4460881" y="1"/>
                </a:cubicBezTo>
                <a:close/>
                <a:moveTo>
                  <a:pt x="3071758" y="1"/>
                </a:moveTo>
                <a:lnTo>
                  <a:pt x="3652242" y="1"/>
                </a:lnTo>
                <a:cubicBezTo>
                  <a:pt x="3897855" y="375045"/>
                  <a:pt x="4041023" y="825593"/>
                  <a:pt x="4041023" y="1310188"/>
                </a:cubicBezTo>
                <a:cubicBezTo>
                  <a:pt x="4041023" y="2616192"/>
                  <a:pt x="3001177" y="3674916"/>
                  <a:pt x="1718797" y="3674916"/>
                </a:cubicBezTo>
                <a:cubicBezTo>
                  <a:pt x="1037900" y="3674916"/>
                  <a:pt x="425495" y="3376507"/>
                  <a:pt x="727" y="2901121"/>
                </a:cubicBezTo>
                <a:lnTo>
                  <a:pt x="727" y="2598006"/>
                </a:lnTo>
                <a:cubicBezTo>
                  <a:pt x="249879" y="2688010"/>
                  <a:pt x="512802" y="2733918"/>
                  <a:pt x="777707" y="2733673"/>
                </a:cubicBezTo>
                <a:cubicBezTo>
                  <a:pt x="2060087" y="2733673"/>
                  <a:pt x="3099933" y="1674949"/>
                  <a:pt x="3099933" y="368945"/>
                </a:cubicBezTo>
                <a:cubicBezTo>
                  <a:pt x="3099955" y="245425"/>
                  <a:pt x="3090536" y="122084"/>
                  <a:pt x="3071758" y="1"/>
                </a:cubicBezTo>
                <a:close/>
                <a:moveTo>
                  <a:pt x="0" y="0"/>
                </a:moveTo>
                <a:lnTo>
                  <a:pt x="110202" y="0"/>
                </a:lnTo>
                <a:lnTo>
                  <a:pt x="820366" y="0"/>
                </a:lnTo>
                <a:lnTo>
                  <a:pt x="2424063" y="0"/>
                </a:lnTo>
                <a:cubicBezTo>
                  <a:pt x="2553033" y="211782"/>
                  <a:pt x="2621068" y="455054"/>
                  <a:pt x="2620675" y="703027"/>
                </a:cubicBezTo>
                <a:cubicBezTo>
                  <a:pt x="2620675" y="1450677"/>
                  <a:pt x="2014660" y="2056790"/>
                  <a:pt x="1267133" y="2056790"/>
                </a:cubicBezTo>
                <a:cubicBezTo>
                  <a:pt x="688188" y="2056790"/>
                  <a:pt x="194116" y="1693221"/>
                  <a:pt x="728" y="1181900"/>
                </a:cubicBezTo>
                <a:lnTo>
                  <a:pt x="728" y="719847"/>
                </a:lnTo>
                <a:lnTo>
                  <a:pt x="0" y="71984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13500000" algn="b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CEA5D2-AD2E-D546-9DBA-337CA0300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E5D158-505B-5C4D-B8A0-EAA847AEE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05808F-7D4F-8E45-BB56-4C371D44B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24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08E68FB-0146-2148-A558-03D55249A2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" y="1313233"/>
            <a:ext cx="5945712" cy="5554494"/>
          </a:xfrm>
          <a:custGeom>
            <a:avLst/>
            <a:gdLst>
              <a:gd name="connsiteX0" fmla="*/ 1266407 w 5945712"/>
              <a:gd name="connsiteY0" fmla="*/ 3497703 h 5554494"/>
              <a:gd name="connsiteX1" fmla="*/ 2619949 w 5945712"/>
              <a:gd name="connsiteY1" fmla="*/ 4851466 h 5554494"/>
              <a:gd name="connsiteX2" fmla="*/ 2423337 w 5945712"/>
              <a:gd name="connsiteY2" fmla="*/ 5554493 h 5554494"/>
              <a:gd name="connsiteX3" fmla="*/ 820368 w 5945712"/>
              <a:gd name="connsiteY3" fmla="*/ 5554493 h 5554494"/>
              <a:gd name="connsiteX4" fmla="*/ 109476 w 5945712"/>
              <a:gd name="connsiteY4" fmla="*/ 5554493 h 5554494"/>
              <a:gd name="connsiteX5" fmla="*/ 2 w 5945712"/>
              <a:gd name="connsiteY5" fmla="*/ 5554493 h 5554494"/>
              <a:gd name="connsiteX6" fmla="*/ 2 w 5945712"/>
              <a:gd name="connsiteY6" fmla="*/ 5330338 h 5554494"/>
              <a:gd name="connsiteX7" fmla="*/ 2 w 5945712"/>
              <a:gd name="connsiteY7" fmla="*/ 4834646 h 5554494"/>
              <a:gd name="connsiteX8" fmla="*/ 2 w 5945712"/>
              <a:gd name="connsiteY8" fmla="*/ 4372593 h 5554494"/>
              <a:gd name="connsiteX9" fmla="*/ 1266407 w 5945712"/>
              <a:gd name="connsiteY9" fmla="*/ 3497703 h 5554494"/>
              <a:gd name="connsiteX10" fmla="*/ 1718071 w 5945712"/>
              <a:gd name="connsiteY10" fmla="*/ 1879579 h 5554494"/>
              <a:gd name="connsiteX11" fmla="*/ 4040297 w 5945712"/>
              <a:gd name="connsiteY11" fmla="*/ 4244307 h 5554494"/>
              <a:gd name="connsiteX12" fmla="*/ 3651516 w 5945712"/>
              <a:gd name="connsiteY12" fmla="*/ 5554494 h 5554494"/>
              <a:gd name="connsiteX13" fmla="*/ 3071032 w 5945712"/>
              <a:gd name="connsiteY13" fmla="*/ 5554494 h 5554494"/>
              <a:gd name="connsiteX14" fmla="*/ 3099207 w 5945712"/>
              <a:gd name="connsiteY14" fmla="*/ 5185550 h 5554494"/>
              <a:gd name="connsiteX15" fmla="*/ 776981 w 5945712"/>
              <a:gd name="connsiteY15" fmla="*/ 2820822 h 5554494"/>
              <a:gd name="connsiteX16" fmla="*/ 1 w 5945712"/>
              <a:gd name="connsiteY16" fmla="*/ 2956489 h 5554494"/>
              <a:gd name="connsiteX17" fmla="*/ 1 w 5945712"/>
              <a:gd name="connsiteY17" fmla="*/ 2653374 h 5554494"/>
              <a:gd name="connsiteX18" fmla="*/ 1718071 w 5945712"/>
              <a:gd name="connsiteY18" fmla="*/ 1879579 h 5554494"/>
              <a:gd name="connsiteX19" fmla="*/ 2740488 w 5945712"/>
              <a:gd name="connsiteY19" fmla="*/ 0 h 5554494"/>
              <a:gd name="connsiteX20" fmla="*/ 5945712 w 5945712"/>
              <a:gd name="connsiteY20" fmla="*/ 3304517 h 5554494"/>
              <a:gd name="connsiteX21" fmla="*/ 5087897 w 5945712"/>
              <a:gd name="connsiteY21" fmla="*/ 5554494 h 5554494"/>
              <a:gd name="connsiteX22" fmla="*/ 4460155 w 5945712"/>
              <a:gd name="connsiteY22" fmla="*/ 5554494 h 5554494"/>
              <a:gd name="connsiteX23" fmla="*/ 4574742 w 5945712"/>
              <a:gd name="connsiteY23" fmla="*/ 4675710 h 5554494"/>
              <a:gd name="connsiteX24" fmla="*/ 1369518 w 5945712"/>
              <a:gd name="connsiteY24" fmla="*/ 1371193 h 5554494"/>
              <a:gd name="connsiteX25" fmla="*/ 0 w 5945712"/>
              <a:gd name="connsiteY25" fmla="*/ 1687236 h 5554494"/>
              <a:gd name="connsiteX26" fmla="*/ 0 w 5945712"/>
              <a:gd name="connsiteY26" fmla="*/ 1589887 h 5554494"/>
              <a:gd name="connsiteX27" fmla="*/ 2740488 w 5945712"/>
              <a:gd name="connsiteY27" fmla="*/ 0 h 555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945712" h="5554494">
                <a:moveTo>
                  <a:pt x="1266407" y="3497703"/>
                </a:moveTo>
                <a:cubicBezTo>
                  <a:pt x="2013934" y="3497703"/>
                  <a:pt x="2619949" y="4103816"/>
                  <a:pt x="2619949" y="4851466"/>
                </a:cubicBezTo>
                <a:cubicBezTo>
                  <a:pt x="2620342" y="5099439"/>
                  <a:pt x="2552307" y="5342711"/>
                  <a:pt x="2423337" y="5554493"/>
                </a:cubicBezTo>
                <a:lnTo>
                  <a:pt x="820368" y="5554493"/>
                </a:lnTo>
                <a:lnTo>
                  <a:pt x="109476" y="5554493"/>
                </a:lnTo>
                <a:lnTo>
                  <a:pt x="2" y="5554493"/>
                </a:lnTo>
                <a:lnTo>
                  <a:pt x="2" y="5330338"/>
                </a:lnTo>
                <a:lnTo>
                  <a:pt x="2" y="4834646"/>
                </a:lnTo>
                <a:lnTo>
                  <a:pt x="2" y="4372593"/>
                </a:lnTo>
                <a:cubicBezTo>
                  <a:pt x="193390" y="3861272"/>
                  <a:pt x="687462" y="3497703"/>
                  <a:pt x="1266407" y="3497703"/>
                </a:cubicBezTo>
                <a:close/>
                <a:moveTo>
                  <a:pt x="1718071" y="1879579"/>
                </a:moveTo>
                <a:cubicBezTo>
                  <a:pt x="3000451" y="1879579"/>
                  <a:pt x="4040297" y="2938303"/>
                  <a:pt x="4040297" y="4244307"/>
                </a:cubicBezTo>
                <a:cubicBezTo>
                  <a:pt x="4040297" y="4728902"/>
                  <a:pt x="3897129" y="5179450"/>
                  <a:pt x="3651516" y="5554494"/>
                </a:cubicBezTo>
                <a:lnTo>
                  <a:pt x="3071032" y="5554494"/>
                </a:lnTo>
                <a:cubicBezTo>
                  <a:pt x="3089810" y="5432411"/>
                  <a:pt x="3099229" y="5309070"/>
                  <a:pt x="3099207" y="5185550"/>
                </a:cubicBezTo>
                <a:cubicBezTo>
                  <a:pt x="3099207" y="3879546"/>
                  <a:pt x="2059361" y="2820822"/>
                  <a:pt x="776981" y="2820822"/>
                </a:cubicBezTo>
                <a:cubicBezTo>
                  <a:pt x="512076" y="2820577"/>
                  <a:pt x="249153" y="2866485"/>
                  <a:pt x="1" y="2956489"/>
                </a:cubicBezTo>
                <a:lnTo>
                  <a:pt x="1" y="2653374"/>
                </a:lnTo>
                <a:cubicBezTo>
                  <a:pt x="424769" y="2177988"/>
                  <a:pt x="1037174" y="1879579"/>
                  <a:pt x="1718071" y="1879579"/>
                </a:cubicBezTo>
                <a:close/>
                <a:moveTo>
                  <a:pt x="2740488" y="0"/>
                </a:moveTo>
                <a:cubicBezTo>
                  <a:pt x="4510695" y="0"/>
                  <a:pt x="5945712" y="1479494"/>
                  <a:pt x="5945712" y="3304517"/>
                </a:cubicBezTo>
                <a:cubicBezTo>
                  <a:pt x="5945712" y="4173743"/>
                  <a:pt x="5620135" y="4964562"/>
                  <a:pt x="5087897" y="5554494"/>
                </a:cubicBezTo>
                <a:lnTo>
                  <a:pt x="4460155" y="5554494"/>
                </a:lnTo>
                <a:cubicBezTo>
                  <a:pt x="4536476" y="5267812"/>
                  <a:pt x="4574998" y="4972381"/>
                  <a:pt x="4574742" y="4675710"/>
                </a:cubicBezTo>
                <a:cubicBezTo>
                  <a:pt x="4574742" y="2850687"/>
                  <a:pt x="3139725" y="1371193"/>
                  <a:pt x="1369518" y="1371193"/>
                </a:cubicBezTo>
                <a:cubicBezTo>
                  <a:pt x="894893" y="1370753"/>
                  <a:pt x="426451" y="1478856"/>
                  <a:pt x="0" y="1687236"/>
                </a:cubicBezTo>
                <a:lnTo>
                  <a:pt x="0" y="1589887"/>
                </a:lnTo>
                <a:cubicBezTo>
                  <a:pt x="562301" y="636675"/>
                  <a:pt x="1579289" y="0"/>
                  <a:pt x="2740488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8100000" algn="t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 algn="l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D45395-EB5A-E94E-817F-D5F42D0FA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E52FD6-995D-D540-BFDC-97139DB77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677EF2-61A3-B743-987D-470C917E1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83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994601B-3B2D-E54B-9F76-F5250ACAFF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2567" y="-2455"/>
            <a:ext cx="7449433" cy="6858001"/>
          </a:xfrm>
          <a:custGeom>
            <a:avLst/>
            <a:gdLst>
              <a:gd name="connsiteX0" fmla="*/ 2665100 w 7449433"/>
              <a:gd name="connsiteY0" fmla="*/ 2257540 h 6858001"/>
              <a:gd name="connsiteX1" fmla="*/ 2933036 w 7449433"/>
              <a:gd name="connsiteY1" fmla="*/ 3704925 h 6858001"/>
              <a:gd name="connsiteX2" fmla="*/ 1447315 w 7449433"/>
              <a:gd name="connsiteY2" fmla="*/ 6855545 h 6858001"/>
              <a:gd name="connsiteX3" fmla="*/ 0 w 7449433"/>
              <a:gd name="connsiteY3" fmla="*/ 6855545 h 6858001"/>
              <a:gd name="connsiteX4" fmla="*/ 2726619 w 7449433"/>
              <a:gd name="connsiteY4" fmla="*/ 2961483 h 6858001"/>
              <a:gd name="connsiteX5" fmla="*/ 2665100 w 7449433"/>
              <a:gd name="connsiteY5" fmla="*/ 2257540 h 6858001"/>
              <a:gd name="connsiteX6" fmla="*/ 1981516 w 7449433"/>
              <a:gd name="connsiteY6" fmla="*/ 751727 h 6858001"/>
              <a:gd name="connsiteX7" fmla="*/ 3700165 w 7449433"/>
              <a:gd name="connsiteY7" fmla="*/ 4215017 h 6858001"/>
              <a:gd name="connsiteX8" fmla="*/ 2805713 w 7449433"/>
              <a:gd name="connsiteY8" fmla="*/ 6858001 h 6858001"/>
              <a:gd name="connsiteX9" fmla="*/ 1720699 w 7449433"/>
              <a:gd name="connsiteY9" fmla="*/ 6858001 h 6858001"/>
              <a:gd name="connsiteX10" fmla="*/ 3060856 w 7449433"/>
              <a:gd name="connsiteY10" fmla="*/ 3666541 h 6858001"/>
              <a:gd name="connsiteX11" fmla="*/ 1981516 w 7449433"/>
              <a:gd name="connsiteY11" fmla="*/ 751727 h 6858001"/>
              <a:gd name="connsiteX12" fmla="*/ 757630 w 7449433"/>
              <a:gd name="connsiteY12" fmla="*/ 0 h 6858001"/>
              <a:gd name="connsiteX13" fmla="*/ 7099239 w 7449433"/>
              <a:gd name="connsiteY13" fmla="*/ 0 h 6858001"/>
              <a:gd name="connsiteX14" fmla="*/ 7099239 w 7449433"/>
              <a:gd name="connsiteY14" fmla="*/ 1 h 6858001"/>
              <a:gd name="connsiteX15" fmla="*/ 7449433 w 7449433"/>
              <a:gd name="connsiteY15" fmla="*/ 1 h 6858001"/>
              <a:gd name="connsiteX16" fmla="*/ 7449433 w 7449433"/>
              <a:gd name="connsiteY16" fmla="*/ 6858001 h 6858001"/>
              <a:gd name="connsiteX17" fmla="*/ 7099239 w 7449433"/>
              <a:gd name="connsiteY17" fmla="*/ 6858001 h 6858001"/>
              <a:gd name="connsiteX18" fmla="*/ 6992233 w 7449433"/>
              <a:gd name="connsiteY18" fmla="*/ 6858001 h 6858001"/>
              <a:gd name="connsiteX19" fmla="*/ 3127229 w 7449433"/>
              <a:gd name="connsiteY19" fmla="*/ 6858001 h 6858001"/>
              <a:gd name="connsiteX20" fmla="*/ 3127229 w 7449433"/>
              <a:gd name="connsiteY20" fmla="*/ 6857673 h 6858001"/>
              <a:gd name="connsiteX21" fmla="*/ 3101032 w 7449433"/>
              <a:gd name="connsiteY21" fmla="*/ 6857837 h 6858001"/>
              <a:gd name="connsiteX22" fmla="*/ 3073133 w 7449433"/>
              <a:gd name="connsiteY22" fmla="*/ 6857837 h 6858001"/>
              <a:gd name="connsiteX23" fmla="*/ 3798508 w 7449433"/>
              <a:gd name="connsiteY23" fmla="*/ 4295257 h 6858001"/>
              <a:gd name="connsiteX24" fmla="*/ 757630 w 7449433"/>
              <a:gd name="connsiteY24" fmla="*/ 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449433" h="6858001">
                <a:moveTo>
                  <a:pt x="2665100" y="2257540"/>
                </a:moveTo>
                <a:cubicBezTo>
                  <a:pt x="2838452" y="2708943"/>
                  <a:pt x="2933036" y="3196437"/>
                  <a:pt x="2933036" y="3704925"/>
                </a:cubicBezTo>
                <a:cubicBezTo>
                  <a:pt x="2933036" y="4957738"/>
                  <a:pt x="2358903" y="6082955"/>
                  <a:pt x="1447315" y="6855545"/>
                </a:cubicBezTo>
                <a:lnTo>
                  <a:pt x="0" y="6855545"/>
                </a:lnTo>
                <a:cubicBezTo>
                  <a:pt x="1601279" y="6219329"/>
                  <a:pt x="2726619" y="4715448"/>
                  <a:pt x="2726619" y="2961483"/>
                </a:cubicBezTo>
                <a:cubicBezTo>
                  <a:pt x="2726717" y="2725772"/>
                  <a:pt x="2706149" y="2490412"/>
                  <a:pt x="2665100" y="2257540"/>
                </a:cubicBezTo>
                <a:close/>
                <a:moveTo>
                  <a:pt x="1981516" y="751727"/>
                </a:moveTo>
                <a:cubicBezTo>
                  <a:pt x="3025506" y="1543934"/>
                  <a:pt x="3700165" y="2800383"/>
                  <a:pt x="3700165" y="4215017"/>
                </a:cubicBezTo>
                <a:cubicBezTo>
                  <a:pt x="3700165" y="5209657"/>
                  <a:pt x="3366630" y="6126120"/>
                  <a:pt x="2805713" y="6858001"/>
                </a:cubicBezTo>
                <a:lnTo>
                  <a:pt x="1720699" y="6858001"/>
                </a:lnTo>
                <a:cubicBezTo>
                  <a:pt x="2546331" y="6054888"/>
                  <a:pt x="3060856" y="4921941"/>
                  <a:pt x="3060856" y="3666541"/>
                </a:cubicBezTo>
                <a:cubicBezTo>
                  <a:pt x="3060856" y="2549086"/>
                  <a:pt x="2653270" y="1528836"/>
                  <a:pt x="1981516" y="751727"/>
                </a:cubicBezTo>
                <a:close/>
                <a:moveTo>
                  <a:pt x="757630" y="0"/>
                </a:moveTo>
                <a:lnTo>
                  <a:pt x="7099239" y="0"/>
                </a:lnTo>
                <a:lnTo>
                  <a:pt x="7099239" y="1"/>
                </a:lnTo>
                <a:lnTo>
                  <a:pt x="7449433" y="1"/>
                </a:lnTo>
                <a:lnTo>
                  <a:pt x="7449433" y="6858001"/>
                </a:lnTo>
                <a:lnTo>
                  <a:pt x="7099239" y="6858001"/>
                </a:lnTo>
                <a:lnTo>
                  <a:pt x="6992233" y="6858001"/>
                </a:lnTo>
                <a:lnTo>
                  <a:pt x="3127229" y="6858001"/>
                </a:lnTo>
                <a:lnTo>
                  <a:pt x="3127229" y="6857673"/>
                </a:lnTo>
                <a:lnTo>
                  <a:pt x="3101032" y="6857837"/>
                </a:lnTo>
                <a:lnTo>
                  <a:pt x="3073133" y="6857837"/>
                </a:lnTo>
                <a:cubicBezTo>
                  <a:pt x="3531568" y="6122976"/>
                  <a:pt x="3798508" y="5242146"/>
                  <a:pt x="3798508" y="4295257"/>
                </a:cubicBezTo>
                <a:cubicBezTo>
                  <a:pt x="3798508" y="2360312"/>
                  <a:pt x="2567190" y="428950"/>
                  <a:pt x="75763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4E19B1-8024-854E-A528-5D39BF9F4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4596B1-F939-144B-A86F-3A92B41E4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2B621B-514F-5F43-8B77-1E1D3BEC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15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7574006-F958-184D-B7B8-15126BBB27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7449433" cy="6858001"/>
          </a:xfrm>
          <a:custGeom>
            <a:avLst/>
            <a:gdLst>
              <a:gd name="connsiteX0" fmla="*/ 6002118 w 7449433"/>
              <a:gd name="connsiteY0" fmla="*/ 2456 h 6858001"/>
              <a:gd name="connsiteX1" fmla="*/ 7449433 w 7449433"/>
              <a:gd name="connsiteY1" fmla="*/ 2456 h 6858001"/>
              <a:gd name="connsiteX2" fmla="*/ 4722814 w 7449433"/>
              <a:gd name="connsiteY2" fmla="*/ 3896518 h 6858001"/>
              <a:gd name="connsiteX3" fmla="*/ 4784333 w 7449433"/>
              <a:gd name="connsiteY3" fmla="*/ 4600461 h 6858001"/>
              <a:gd name="connsiteX4" fmla="*/ 4516397 w 7449433"/>
              <a:gd name="connsiteY4" fmla="*/ 3153076 h 6858001"/>
              <a:gd name="connsiteX5" fmla="*/ 6002118 w 7449433"/>
              <a:gd name="connsiteY5" fmla="*/ 2456 h 6858001"/>
              <a:gd name="connsiteX6" fmla="*/ 4643720 w 7449433"/>
              <a:gd name="connsiteY6" fmla="*/ 0 h 6858001"/>
              <a:gd name="connsiteX7" fmla="*/ 5728734 w 7449433"/>
              <a:gd name="connsiteY7" fmla="*/ 0 h 6858001"/>
              <a:gd name="connsiteX8" fmla="*/ 4388577 w 7449433"/>
              <a:gd name="connsiteY8" fmla="*/ 3191460 h 6858001"/>
              <a:gd name="connsiteX9" fmla="*/ 5467917 w 7449433"/>
              <a:gd name="connsiteY9" fmla="*/ 6106274 h 6858001"/>
              <a:gd name="connsiteX10" fmla="*/ 3749268 w 7449433"/>
              <a:gd name="connsiteY10" fmla="*/ 2642984 h 6858001"/>
              <a:gd name="connsiteX11" fmla="*/ 4643720 w 7449433"/>
              <a:gd name="connsiteY11" fmla="*/ 0 h 6858001"/>
              <a:gd name="connsiteX12" fmla="*/ 0 w 7449433"/>
              <a:gd name="connsiteY12" fmla="*/ 0 h 6858001"/>
              <a:gd name="connsiteX13" fmla="*/ 350194 w 7449433"/>
              <a:gd name="connsiteY13" fmla="*/ 0 h 6858001"/>
              <a:gd name="connsiteX14" fmla="*/ 457200 w 7449433"/>
              <a:gd name="connsiteY14" fmla="*/ 0 h 6858001"/>
              <a:gd name="connsiteX15" fmla="*/ 4322204 w 7449433"/>
              <a:gd name="connsiteY15" fmla="*/ 0 h 6858001"/>
              <a:gd name="connsiteX16" fmla="*/ 4322204 w 7449433"/>
              <a:gd name="connsiteY16" fmla="*/ 328 h 6858001"/>
              <a:gd name="connsiteX17" fmla="*/ 4348401 w 7449433"/>
              <a:gd name="connsiteY17" fmla="*/ 164 h 6858001"/>
              <a:gd name="connsiteX18" fmla="*/ 4376300 w 7449433"/>
              <a:gd name="connsiteY18" fmla="*/ 164 h 6858001"/>
              <a:gd name="connsiteX19" fmla="*/ 3650925 w 7449433"/>
              <a:gd name="connsiteY19" fmla="*/ 2562744 h 6858001"/>
              <a:gd name="connsiteX20" fmla="*/ 6691803 w 7449433"/>
              <a:gd name="connsiteY20" fmla="*/ 6858001 h 6858001"/>
              <a:gd name="connsiteX21" fmla="*/ 350194 w 7449433"/>
              <a:gd name="connsiteY21" fmla="*/ 6858001 h 6858001"/>
              <a:gd name="connsiteX22" fmla="*/ 350194 w 7449433"/>
              <a:gd name="connsiteY22" fmla="*/ 6858000 h 6858001"/>
              <a:gd name="connsiteX23" fmla="*/ 0 w 7449433"/>
              <a:gd name="connsiteY23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449433" h="6858001">
                <a:moveTo>
                  <a:pt x="6002118" y="2456"/>
                </a:moveTo>
                <a:lnTo>
                  <a:pt x="7449433" y="2456"/>
                </a:lnTo>
                <a:cubicBezTo>
                  <a:pt x="5848154" y="638672"/>
                  <a:pt x="4722814" y="2142553"/>
                  <a:pt x="4722814" y="3896518"/>
                </a:cubicBezTo>
                <a:cubicBezTo>
                  <a:pt x="4722716" y="4132229"/>
                  <a:pt x="4743284" y="4367589"/>
                  <a:pt x="4784333" y="4600461"/>
                </a:cubicBezTo>
                <a:cubicBezTo>
                  <a:pt x="4610981" y="4149058"/>
                  <a:pt x="4516397" y="3661564"/>
                  <a:pt x="4516397" y="3153076"/>
                </a:cubicBezTo>
                <a:cubicBezTo>
                  <a:pt x="4516397" y="1900263"/>
                  <a:pt x="5090530" y="775046"/>
                  <a:pt x="6002118" y="2456"/>
                </a:cubicBezTo>
                <a:close/>
                <a:moveTo>
                  <a:pt x="4643720" y="0"/>
                </a:moveTo>
                <a:lnTo>
                  <a:pt x="5728734" y="0"/>
                </a:lnTo>
                <a:cubicBezTo>
                  <a:pt x="4903102" y="803113"/>
                  <a:pt x="4388577" y="1936060"/>
                  <a:pt x="4388577" y="3191460"/>
                </a:cubicBezTo>
                <a:cubicBezTo>
                  <a:pt x="4388577" y="4308915"/>
                  <a:pt x="4796163" y="5329165"/>
                  <a:pt x="5467917" y="6106274"/>
                </a:cubicBezTo>
                <a:cubicBezTo>
                  <a:pt x="4423927" y="5314067"/>
                  <a:pt x="3749268" y="4057618"/>
                  <a:pt x="3749268" y="2642984"/>
                </a:cubicBezTo>
                <a:cubicBezTo>
                  <a:pt x="3749268" y="1648345"/>
                  <a:pt x="4082803" y="731881"/>
                  <a:pt x="4643720" y="0"/>
                </a:cubicBezTo>
                <a:close/>
                <a:moveTo>
                  <a:pt x="0" y="0"/>
                </a:moveTo>
                <a:lnTo>
                  <a:pt x="350194" y="0"/>
                </a:lnTo>
                <a:lnTo>
                  <a:pt x="457200" y="0"/>
                </a:lnTo>
                <a:lnTo>
                  <a:pt x="4322204" y="0"/>
                </a:lnTo>
                <a:lnTo>
                  <a:pt x="4322204" y="328"/>
                </a:lnTo>
                <a:lnTo>
                  <a:pt x="4348401" y="164"/>
                </a:lnTo>
                <a:lnTo>
                  <a:pt x="4376300" y="164"/>
                </a:lnTo>
                <a:cubicBezTo>
                  <a:pt x="3917865" y="735025"/>
                  <a:pt x="3650925" y="1615855"/>
                  <a:pt x="3650925" y="2562744"/>
                </a:cubicBezTo>
                <a:cubicBezTo>
                  <a:pt x="3650925" y="4497689"/>
                  <a:pt x="4882243" y="6429051"/>
                  <a:pt x="6691803" y="6858001"/>
                </a:cubicBezTo>
                <a:lnTo>
                  <a:pt x="350194" y="6858001"/>
                </a:lnTo>
                <a:lnTo>
                  <a:pt x="350194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algn="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E63DA4-B707-A944-8DEE-316E03C547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88B0EA-FB86-0A49-B609-81BB3AF09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C1FFA-87CE-8447-8FBF-912CDB632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349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B785D3F-727B-5147-A392-7B4DEC4DE1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2"/>
            <a:ext cx="6492885" cy="6531295"/>
          </a:xfrm>
          <a:custGeom>
            <a:avLst/>
            <a:gdLst>
              <a:gd name="connsiteX0" fmla="*/ 0 w 6492885"/>
              <a:gd name="connsiteY0" fmla="*/ 4171860 h 6531295"/>
              <a:gd name="connsiteX1" fmla="*/ 93881 w 6492885"/>
              <a:gd name="connsiteY1" fmla="*/ 4305014 h 6531295"/>
              <a:gd name="connsiteX2" fmla="*/ 3147139 w 6492885"/>
              <a:gd name="connsiteY2" fmla="*/ 5397298 h 6531295"/>
              <a:gd name="connsiteX3" fmla="*/ 3191304 w 6492885"/>
              <a:gd name="connsiteY3" fmla="*/ 5590505 h 6531295"/>
              <a:gd name="connsiteX4" fmla="*/ 531286 w 6492885"/>
              <a:gd name="connsiteY4" fmla="*/ 5015371 h 6531295"/>
              <a:gd name="connsiteX5" fmla="*/ 438216 w 6492885"/>
              <a:gd name="connsiteY5" fmla="*/ 4938008 h 6531295"/>
              <a:gd name="connsiteX6" fmla="*/ 285067 w 6492885"/>
              <a:gd name="connsiteY6" fmla="*/ 5059488 h 6531295"/>
              <a:gd name="connsiteX7" fmla="*/ 340159 w 6492885"/>
              <a:gd name="connsiteY7" fmla="*/ 5104890 h 6531295"/>
              <a:gd name="connsiteX8" fmla="*/ 1249339 w 6492885"/>
              <a:gd name="connsiteY8" fmla="*/ 5592226 h 6531295"/>
              <a:gd name="connsiteX9" fmla="*/ 1156304 w 6492885"/>
              <a:gd name="connsiteY9" fmla="*/ 5865938 h 6531295"/>
              <a:gd name="connsiteX10" fmla="*/ 163728 w 6492885"/>
              <a:gd name="connsiteY10" fmla="*/ 5333902 h 6531295"/>
              <a:gd name="connsiteX11" fmla="*/ 0 w 6492885"/>
              <a:gd name="connsiteY11" fmla="*/ 5198971 h 6531295"/>
              <a:gd name="connsiteX12" fmla="*/ 744490 w 6492885"/>
              <a:gd name="connsiteY12" fmla="*/ 0 h 6531295"/>
              <a:gd name="connsiteX13" fmla="*/ 662938 w 6492885"/>
              <a:gd name="connsiteY13" fmla="*/ 55795 h 6531295"/>
              <a:gd name="connsiteX14" fmla="*/ 125399 w 6492885"/>
              <a:gd name="connsiteY14" fmla="*/ 577176 h 6531295"/>
              <a:gd name="connsiteX15" fmla="*/ 0 w 6492885"/>
              <a:gd name="connsiteY15" fmla="*/ 747566 h 6531295"/>
              <a:gd name="connsiteX16" fmla="*/ 1 w 6492885"/>
              <a:gd name="connsiteY16" fmla="*/ 418700 h 6531295"/>
              <a:gd name="connsiteX17" fmla="*/ 144220 w 6492885"/>
              <a:gd name="connsiteY17" fmla="*/ 254116 h 6531295"/>
              <a:gd name="connsiteX18" fmla="*/ 322049 w 6492885"/>
              <a:gd name="connsiteY18" fmla="*/ 80393 h 6531295"/>
              <a:gd name="connsiteX19" fmla="*/ 419461 w 6492885"/>
              <a:gd name="connsiteY19" fmla="*/ 0 h 6531295"/>
              <a:gd name="connsiteX20" fmla="*/ 4535629 w 6492885"/>
              <a:gd name="connsiteY20" fmla="*/ 0 h 6531295"/>
              <a:gd name="connsiteX21" fmla="*/ 5606846 w 6492885"/>
              <a:gd name="connsiteY21" fmla="*/ 0 h 6531295"/>
              <a:gd name="connsiteX22" fmla="*/ 5778121 w 6492885"/>
              <a:gd name="connsiteY22" fmla="*/ 226815 h 6531295"/>
              <a:gd name="connsiteX23" fmla="*/ 6107404 w 6492885"/>
              <a:gd name="connsiteY23" fmla="*/ 4230912 h 6531295"/>
              <a:gd name="connsiteX24" fmla="*/ 1816166 w 6492885"/>
              <a:gd name="connsiteY24" fmla="*/ 6476491 h 6531295"/>
              <a:gd name="connsiteX25" fmla="*/ 1903523 w 6492885"/>
              <a:gd name="connsiteY25" fmla="*/ 5951896 h 6531295"/>
              <a:gd name="connsiteX26" fmla="*/ 4980081 w 6492885"/>
              <a:gd name="connsiteY26" fmla="*/ 4938345 h 6531295"/>
              <a:gd name="connsiteX27" fmla="*/ 5079969 w 6492885"/>
              <a:gd name="connsiteY27" fmla="*/ 4826460 h 6531295"/>
              <a:gd name="connsiteX28" fmla="*/ 4933439 w 6492885"/>
              <a:gd name="connsiteY28" fmla="*/ 4697027 h 6531295"/>
              <a:gd name="connsiteX29" fmla="*/ 5681224 w 6492885"/>
              <a:gd name="connsiteY29" fmla="*/ 1772729 h 6531295"/>
              <a:gd name="connsiteX30" fmla="*/ 5870348 w 6492885"/>
              <a:gd name="connsiteY30" fmla="*/ 1729876 h 6531295"/>
              <a:gd name="connsiteX31" fmla="*/ 5825013 w 6492885"/>
              <a:gd name="connsiteY31" fmla="*/ 1550624 h 6531295"/>
              <a:gd name="connsiteX32" fmla="*/ 5340913 w 6492885"/>
              <a:gd name="connsiteY32" fmla="*/ 529676 h 6531295"/>
              <a:gd name="connsiteX33" fmla="*/ 5189737 w 6492885"/>
              <a:gd name="connsiteY33" fmla="*/ 329478 h 6531295"/>
              <a:gd name="connsiteX34" fmla="*/ 4999170 w 6492885"/>
              <a:gd name="connsiteY34" fmla="*/ 480640 h 6531295"/>
              <a:gd name="connsiteX35" fmla="*/ 5029866 w 6492885"/>
              <a:gd name="connsiteY35" fmla="*/ 516925 h 6531295"/>
              <a:gd name="connsiteX36" fmla="*/ 5376314 w 6492885"/>
              <a:gd name="connsiteY36" fmla="*/ 1086432 h 6531295"/>
              <a:gd name="connsiteX37" fmla="*/ 5450246 w 6492885"/>
              <a:gd name="connsiteY37" fmla="*/ 3667456 h 6531295"/>
              <a:gd name="connsiteX38" fmla="*/ 5266580 w 6492885"/>
              <a:gd name="connsiteY38" fmla="*/ 3592977 h 6531295"/>
              <a:gd name="connsiteX39" fmla="*/ 5197211 w 6492885"/>
              <a:gd name="connsiteY39" fmla="*/ 1171303 h 6531295"/>
              <a:gd name="connsiteX40" fmla="*/ 4448659 w 6492885"/>
              <a:gd name="connsiteY40" fmla="*/ 185565 h 6531295"/>
              <a:gd name="connsiteX41" fmla="*/ 4211031 w 6492885"/>
              <a:gd name="connsiteY41" fmla="*/ 0 h 6531295"/>
              <a:gd name="connsiteX42" fmla="*/ 4532623 w 6492885"/>
              <a:gd name="connsiteY42" fmla="*/ 0 h 6531295"/>
              <a:gd name="connsiteX43" fmla="*/ 4540523 w 6492885"/>
              <a:gd name="connsiteY43" fmla="*/ 6169 h 6531295"/>
              <a:gd name="connsiteX44" fmla="*/ 3852607 w 6492885"/>
              <a:gd name="connsiteY44" fmla="*/ 0 h 6531295"/>
              <a:gd name="connsiteX45" fmla="*/ 4053202 w 6492885"/>
              <a:gd name="connsiteY45" fmla="*/ 121865 h 6531295"/>
              <a:gd name="connsiteX46" fmla="*/ 5296964 w 6492885"/>
              <a:gd name="connsiteY46" fmla="*/ 2461100 h 6531295"/>
              <a:gd name="connsiteX47" fmla="*/ 2475943 w 6492885"/>
              <a:gd name="connsiteY47" fmla="*/ 5282120 h 6531295"/>
              <a:gd name="connsiteX48" fmla="*/ 136709 w 6492885"/>
              <a:gd name="connsiteY48" fmla="*/ 4038358 h 6531295"/>
              <a:gd name="connsiteX49" fmla="*/ 1 w 6492885"/>
              <a:gd name="connsiteY49" fmla="*/ 3813332 h 6531295"/>
              <a:gd name="connsiteX50" fmla="*/ 1 w 6492885"/>
              <a:gd name="connsiteY50" fmla="*/ 1108550 h 6531295"/>
              <a:gd name="connsiteX51" fmla="*/ 81171 w 6492885"/>
              <a:gd name="connsiteY51" fmla="*/ 969332 h 6531295"/>
              <a:gd name="connsiteX52" fmla="*/ 898683 w 6492885"/>
              <a:gd name="connsiteY52" fmla="*/ 121865 h 6531295"/>
              <a:gd name="connsiteX53" fmla="*/ 1099278 w 6492885"/>
              <a:gd name="connsiteY53" fmla="*/ 0 h 6531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492885" h="6531295">
                <a:moveTo>
                  <a:pt x="0" y="4171860"/>
                </a:moveTo>
                <a:lnTo>
                  <a:pt x="93881" y="4305014"/>
                </a:lnTo>
                <a:cubicBezTo>
                  <a:pt x="797012" y="5213684"/>
                  <a:pt x="1980931" y="5663885"/>
                  <a:pt x="3147139" y="5397298"/>
                </a:cubicBezTo>
                <a:lnTo>
                  <a:pt x="3191304" y="5590505"/>
                </a:lnTo>
                <a:cubicBezTo>
                  <a:pt x="2235192" y="5809067"/>
                  <a:pt x="1267909" y="5575584"/>
                  <a:pt x="531286" y="5015371"/>
                </a:cubicBezTo>
                <a:lnTo>
                  <a:pt x="438216" y="4938008"/>
                </a:lnTo>
                <a:lnTo>
                  <a:pt x="285067" y="5059488"/>
                </a:lnTo>
                <a:lnTo>
                  <a:pt x="340159" y="5104890"/>
                </a:lnTo>
                <a:cubicBezTo>
                  <a:pt x="613291" y="5315312"/>
                  <a:pt x="920233" y="5480361"/>
                  <a:pt x="1249339" y="5592226"/>
                </a:cubicBezTo>
                <a:lnTo>
                  <a:pt x="1156304" y="5865938"/>
                </a:lnTo>
                <a:cubicBezTo>
                  <a:pt x="797010" y="5743813"/>
                  <a:pt x="461913" y="5563625"/>
                  <a:pt x="163728" y="5333902"/>
                </a:cubicBezTo>
                <a:lnTo>
                  <a:pt x="0" y="5198971"/>
                </a:lnTo>
                <a:close/>
                <a:moveTo>
                  <a:pt x="744490" y="0"/>
                </a:moveTo>
                <a:lnTo>
                  <a:pt x="662938" y="55795"/>
                </a:lnTo>
                <a:cubicBezTo>
                  <a:pt x="459554" y="208875"/>
                  <a:pt x="279790" y="384473"/>
                  <a:pt x="125399" y="577176"/>
                </a:cubicBezTo>
                <a:lnTo>
                  <a:pt x="0" y="747566"/>
                </a:lnTo>
                <a:lnTo>
                  <a:pt x="1" y="418700"/>
                </a:lnTo>
                <a:lnTo>
                  <a:pt x="144220" y="254116"/>
                </a:lnTo>
                <a:cubicBezTo>
                  <a:pt x="200958" y="194199"/>
                  <a:pt x="260253" y="136234"/>
                  <a:pt x="322049" y="80393"/>
                </a:cubicBezTo>
                <a:lnTo>
                  <a:pt x="419461" y="0"/>
                </a:lnTo>
                <a:close/>
                <a:moveTo>
                  <a:pt x="4535629" y="0"/>
                </a:moveTo>
                <a:lnTo>
                  <a:pt x="5606846" y="0"/>
                </a:lnTo>
                <a:lnTo>
                  <a:pt x="5778121" y="226815"/>
                </a:lnTo>
                <a:cubicBezTo>
                  <a:pt x="6581518" y="1386297"/>
                  <a:pt x="6731027" y="2911652"/>
                  <a:pt x="6107404" y="4230912"/>
                </a:cubicBezTo>
                <a:cubicBezTo>
                  <a:pt x="5339871" y="5854616"/>
                  <a:pt x="3587747" y="6771491"/>
                  <a:pt x="1816166" y="6476491"/>
                </a:cubicBezTo>
                <a:lnTo>
                  <a:pt x="1903523" y="5951896"/>
                </a:lnTo>
                <a:cubicBezTo>
                  <a:pt x="3056289" y="6143852"/>
                  <a:pt x="4199562" y="5744383"/>
                  <a:pt x="4980081" y="4938345"/>
                </a:cubicBezTo>
                <a:lnTo>
                  <a:pt x="5079969" y="4826460"/>
                </a:lnTo>
                <a:lnTo>
                  <a:pt x="4933439" y="4697027"/>
                </a:lnTo>
                <a:cubicBezTo>
                  <a:pt x="5638246" y="3899119"/>
                  <a:pt x="5916487" y="2811027"/>
                  <a:pt x="5681224" y="1772729"/>
                </a:cubicBezTo>
                <a:lnTo>
                  <a:pt x="5870348" y="1729876"/>
                </a:lnTo>
                <a:lnTo>
                  <a:pt x="5825013" y="1550624"/>
                </a:lnTo>
                <a:cubicBezTo>
                  <a:pt x="5721153" y="1189404"/>
                  <a:pt x="5558734" y="844041"/>
                  <a:pt x="5340913" y="529676"/>
                </a:cubicBezTo>
                <a:lnTo>
                  <a:pt x="5189737" y="329478"/>
                </a:lnTo>
                <a:lnTo>
                  <a:pt x="4999170" y="480640"/>
                </a:lnTo>
                <a:lnTo>
                  <a:pt x="5029866" y="516925"/>
                </a:lnTo>
                <a:cubicBezTo>
                  <a:pt x="5163730" y="692802"/>
                  <a:pt x="5280108" y="883415"/>
                  <a:pt x="5376314" y="1086432"/>
                </a:cubicBezTo>
                <a:cubicBezTo>
                  <a:pt x="5761134" y="1898502"/>
                  <a:pt x="5787951" y="2834691"/>
                  <a:pt x="5450246" y="3667456"/>
                </a:cubicBezTo>
                <a:lnTo>
                  <a:pt x="5266580" y="3592977"/>
                </a:lnTo>
                <a:cubicBezTo>
                  <a:pt x="5583435" y="2811625"/>
                  <a:pt x="5558272" y="1933235"/>
                  <a:pt x="5197211" y="1171303"/>
                </a:cubicBezTo>
                <a:cubicBezTo>
                  <a:pt x="5016679" y="790337"/>
                  <a:pt x="4760439" y="455927"/>
                  <a:pt x="4448659" y="185565"/>
                </a:cubicBezTo>
                <a:lnTo>
                  <a:pt x="4211031" y="0"/>
                </a:lnTo>
                <a:lnTo>
                  <a:pt x="4532623" y="0"/>
                </a:lnTo>
                <a:lnTo>
                  <a:pt x="4540523" y="6169"/>
                </a:lnTo>
                <a:close/>
                <a:moveTo>
                  <a:pt x="3852607" y="0"/>
                </a:moveTo>
                <a:lnTo>
                  <a:pt x="4053202" y="121865"/>
                </a:lnTo>
                <a:cubicBezTo>
                  <a:pt x="4803599" y="628823"/>
                  <a:pt x="5296963" y="1487346"/>
                  <a:pt x="5296964" y="2461100"/>
                </a:cubicBezTo>
                <a:cubicBezTo>
                  <a:pt x="5296963" y="4019106"/>
                  <a:pt x="4033949" y="5282120"/>
                  <a:pt x="2475943" y="5282120"/>
                </a:cubicBezTo>
                <a:cubicBezTo>
                  <a:pt x="1502188" y="5282120"/>
                  <a:pt x="643666" y="4788756"/>
                  <a:pt x="136709" y="4038358"/>
                </a:cubicBezTo>
                <a:lnTo>
                  <a:pt x="1" y="3813332"/>
                </a:lnTo>
                <a:lnTo>
                  <a:pt x="1" y="1108550"/>
                </a:lnTo>
                <a:lnTo>
                  <a:pt x="81171" y="969332"/>
                </a:lnTo>
                <a:cubicBezTo>
                  <a:pt x="291284" y="632745"/>
                  <a:pt x="570384" y="343659"/>
                  <a:pt x="898683" y="121865"/>
                </a:cubicBezTo>
                <a:lnTo>
                  <a:pt x="1099278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254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13F570-9D3B-A64F-B013-4F0587AAC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C9FD41-AD21-204E-8E1E-B9BB289E4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C64BF2-1BD2-F947-8E2A-2574C17C3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4202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FF68949-CE8E-3A4F-8384-2827283DCC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24717" cy="6858000"/>
          </a:xfrm>
          <a:custGeom>
            <a:avLst/>
            <a:gdLst>
              <a:gd name="connsiteX0" fmla="*/ 0 w 4524717"/>
              <a:gd name="connsiteY0" fmla="*/ 0 h 6914414"/>
              <a:gd name="connsiteX1" fmla="*/ 4524717 w 4524717"/>
              <a:gd name="connsiteY1" fmla="*/ 0 h 6914414"/>
              <a:gd name="connsiteX2" fmla="*/ 4524717 w 4524717"/>
              <a:gd name="connsiteY2" fmla="*/ 6914414 h 6914414"/>
              <a:gd name="connsiteX3" fmla="*/ 0 w 4524717"/>
              <a:gd name="connsiteY3" fmla="*/ 6914414 h 6914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4717" h="6914414">
                <a:moveTo>
                  <a:pt x="0" y="0"/>
                </a:moveTo>
                <a:lnTo>
                  <a:pt x="4524717" y="0"/>
                </a:lnTo>
                <a:lnTo>
                  <a:pt x="4524717" y="6914414"/>
                </a:lnTo>
                <a:lnTo>
                  <a:pt x="0" y="6914414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C4D617-5459-DE42-A9CA-EAE5ACC0B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F15B7D-FEE3-0A49-B3F5-FF736A5D6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00FA64-D605-274E-BEE5-61A4A3D29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543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CA808E5-A895-2D49-A985-1AAE1D8C521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7479" y="4103452"/>
            <a:ext cx="1674780" cy="1674780"/>
          </a:xfrm>
          <a:custGeom>
            <a:avLst/>
            <a:gdLst>
              <a:gd name="connsiteX0" fmla="*/ 0 w 1674780"/>
              <a:gd name="connsiteY0" fmla="*/ 0 h 1674780"/>
              <a:gd name="connsiteX1" fmla="*/ 837390 w 1674780"/>
              <a:gd name="connsiteY1" fmla="*/ 0 h 1674780"/>
              <a:gd name="connsiteX2" fmla="*/ 1674780 w 1674780"/>
              <a:gd name="connsiteY2" fmla="*/ 837390 h 1674780"/>
              <a:gd name="connsiteX3" fmla="*/ 837390 w 1674780"/>
              <a:gd name="connsiteY3" fmla="*/ 1674780 h 1674780"/>
              <a:gd name="connsiteX4" fmla="*/ 837390 w 1674780"/>
              <a:gd name="connsiteY4" fmla="*/ 1674779 h 1674780"/>
              <a:gd name="connsiteX5" fmla="*/ 0 w 1674780"/>
              <a:gd name="connsiteY5" fmla="*/ 837389 h 1674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4780" h="1674780">
                <a:moveTo>
                  <a:pt x="0" y="0"/>
                </a:moveTo>
                <a:lnTo>
                  <a:pt x="837390" y="0"/>
                </a:lnTo>
                <a:cubicBezTo>
                  <a:pt x="1299868" y="0"/>
                  <a:pt x="1674780" y="374912"/>
                  <a:pt x="1674780" y="837390"/>
                </a:cubicBezTo>
                <a:cubicBezTo>
                  <a:pt x="1674780" y="1299868"/>
                  <a:pt x="1299868" y="1674780"/>
                  <a:pt x="837390" y="1674780"/>
                </a:cubicBezTo>
                <a:lnTo>
                  <a:pt x="837390" y="1674779"/>
                </a:lnTo>
                <a:cubicBezTo>
                  <a:pt x="374912" y="1674779"/>
                  <a:pt x="0" y="1299867"/>
                  <a:pt x="0" y="837389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dir="13500000" algn="b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A79A2BB-5115-FD43-A5C9-8610AB6335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86653" y="4103451"/>
            <a:ext cx="1674780" cy="1674780"/>
          </a:xfrm>
          <a:custGeom>
            <a:avLst/>
            <a:gdLst>
              <a:gd name="connsiteX0" fmla="*/ 837391 w 1674780"/>
              <a:gd name="connsiteY0" fmla="*/ 0 h 1674780"/>
              <a:gd name="connsiteX1" fmla="*/ 1674780 w 1674780"/>
              <a:gd name="connsiteY1" fmla="*/ 0 h 1674780"/>
              <a:gd name="connsiteX2" fmla="*/ 1674780 w 1674780"/>
              <a:gd name="connsiteY2" fmla="*/ 837390 h 1674780"/>
              <a:gd name="connsiteX3" fmla="*/ 837390 w 1674780"/>
              <a:gd name="connsiteY3" fmla="*/ 1674780 h 1674780"/>
              <a:gd name="connsiteX4" fmla="*/ 0 w 1674780"/>
              <a:gd name="connsiteY4" fmla="*/ 837390 h 1674780"/>
              <a:gd name="connsiteX5" fmla="*/ 1 w 1674780"/>
              <a:gd name="connsiteY5" fmla="*/ 837390 h 1674780"/>
              <a:gd name="connsiteX6" fmla="*/ 837391 w 1674780"/>
              <a:gd name="connsiteY6" fmla="*/ 0 h 1674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4780" h="1674780">
                <a:moveTo>
                  <a:pt x="837391" y="0"/>
                </a:moveTo>
                <a:lnTo>
                  <a:pt x="1674780" y="0"/>
                </a:lnTo>
                <a:lnTo>
                  <a:pt x="1674780" y="837390"/>
                </a:lnTo>
                <a:cubicBezTo>
                  <a:pt x="1674780" y="1299868"/>
                  <a:pt x="1299868" y="1674780"/>
                  <a:pt x="837390" y="1674780"/>
                </a:cubicBezTo>
                <a:cubicBezTo>
                  <a:pt x="374912" y="1674780"/>
                  <a:pt x="0" y="1299868"/>
                  <a:pt x="0" y="837390"/>
                </a:cubicBezTo>
                <a:lnTo>
                  <a:pt x="1" y="837390"/>
                </a:lnTo>
                <a:cubicBezTo>
                  <a:pt x="1" y="374912"/>
                  <a:pt x="374913" y="0"/>
                  <a:pt x="837391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4B23B1E-B03A-7849-AD42-FAB66EA78E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37479" y="2169877"/>
            <a:ext cx="1674780" cy="1674780"/>
          </a:xfrm>
          <a:custGeom>
            <a:avLst/>
            <a:gdLst>
              <a:gd name="connsiteX0" fmla="*/ 837390 w 1674780"/>
              <a:gd name="connsiteY0" fmla="*/ 0 h 1674780"/>
              <a:gd name="connsiteX1" fmla="*/ 1674780 w 1674780"/>
              <a:gd name="connsiteY1" fmla="*/ 837390 h 1674780"/>
              <a:gd name="connsiteX2" fmla="*/ 837390 w 1674780"/>
              <a:gd name="connsiteY2" fmla="*/ 1674780 h 1674780"/>
              <a:gd name="connsiteX3" fmla="*/ 0 w 1674780"/>
              <a:gd name="connsiteY3" fmla="*/ 1674780 h 1674780"/>
              <a:gd name="connsiteX4" fmla="*/ 0 w 1674780"/>
              <a:gd name="connsiteY4" fmla="*/ 837391 h 1674780"/>
              <a:gd name="connsiteX5" fmla="*/ 837390 w 1674780"/>
              <a:gd name="connsiteY5" fmla="*/ 1 h 1674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4780" h="1674780">
                <a:moveTo>
                  <a:pt x="837390" y="0"/>
                </a:moveTo>
                <a:cubicBezTo>
                  <a:pt x="1299868" y="0"/>
                  <a:pt x="1674780" y="374912"/>
                  <a:pt x="1674780" y="837390"/>
                </a:cubicBezTo>
                <a:cubicBezTo>
                  <a:pt x="1674780" y="1299868"/>
                  <a:pt x="1299868" y="1674780"/>
                  <a:pt x="837390" y="1674780"/>
                </a:cubicBezTo>
                <a:lnTo>
                  <a:pt x="0" y="1674780"/>
                </a:lnTo>
                <a:lnTo>
                  <a:pt x="0" y="837391"/>
                </a:lnTo>
                <a:cubicBezTo>
                  <a:pt x="0" y="374913"/>
                  <a:pt x="374912" y="1"/>
                  <a:pt x="837390" y="1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dir="8100000" algn="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334437B-C663-A944-9E8A-7EBC6A7D97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86654" y="2169877"/>
            <a:ext cx="1674780" cy="1674780"/>
          </a:xfrm>
          <a:custGeom>
            <a:avLst/>
            <a:gdLst>
              <a:gd name="connsiteX0" fmla="*/ 837390 w 1674780"/>
              <a:gd name="connsiteY0" fmla="*/ 0 h 1674780"/>
              <a:gd name="connsiteX1" fmla="*/ 837390 w 1674780"/>
              <a:gd name="connsiteY1" fmla="*/ 1 h 1674780"/>
              <a:gd name="connsiteX2" fmla="*/ 1674780 w 1674780"/>
              <a:gd name="connsiteY2" fmla="*/ 837391 h 1674780"/>
              <a:gd name="connsiteX3" fmla="*/ 1674780 w 1674780"/>
              <a:gd name="connsiteY3" fmla="*/ 1674780 h 1674780"/>
              <a:gd name="connsiteX4" fmla="*/ 837390 w 1674780"/>
              <a:gd name="connsiteY4" fmla="*/ 1674780 h 1674780"/>
              <a:gd name="connsiteX5" fmla="*/ 0 w 1674780"/>
              <a:gd name="connsiteY5" fmla="*/ 837390 h 1674780"/>
              <a:gd name="connsiteX6" fmla="*/ 837390 w 1674780"/>
              <a:gd name="connsiteY6" fmla="*/ 0 h 1674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4780" h="1674780">
                <a:moveTo>
                  <a:pt x="837390" y="0"/>
                </a:moveTo>
                <a:lnTo>
                  <a:pt x="837390" y="1"/>
                </a:lnTo>
                <a:cubicBezTo>
                  <a:pt x="1299868" y="1"/>
                  <a:pt x="1674780" y="374913"/>
                  <a:pt x="1674780" y="837391"/>
                </a:cubicBezTo>
                <a:lnTo>
                  <a:pt x="1674780" y="1674780"/>
                </a:lnTo>
                <a:lnTo>
                  <a:pt x="837390" y="1674780"/>
                </a:lnTo>
                <a:cubicBezTo>
                  <a:pt x="374912" y="1674780"/>
                  <a:pt x="0" y="1299868"/>
                  <a:pt x="0" y="837390"/>
                </a:cubicBezTo>
                <a:cubicBezTo>
                  <a:pt x="0" y="374912"/>
                  <a:pt x="374912" y="0"/>
                  <a:pt x="83739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DCBFA-64D9-A948-BD55-F5BD53A45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023DA2-804F-AB42-A88C-33FEF9FEB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24D2F5-E6C4-1546-8744-62A448ADC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5749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94CC2A80-668F-1143-925C-032A86DE0D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415129" y="4591945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DB064E6-38E4-794A-A508-9952BD8FF3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76777" y="4591945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F2788FD-DD73-6648-86F9-08D48A2A0C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532861" y="4591945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458EBC8-5B31-614A-892D-6A334A438E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415129" y="2243470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992D83E-1419-9E4D-9267-222BCCABCF2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76777" y="2243469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4F8609-62B0-5349-A1B9-08928CAC3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F4B94-0A0C-FF49-8EF0-678C76FD6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8B2FB-A515-9348-8BCC-3D2867390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E9C6743-9B20-254C-812C-8784C7468A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32861" y="2243470"/>
            <a:ext cx="1041992" cy="1041992"/>
          </a:xfrm>
          <a:custGeom>
            <a:avLst/>
            <a:gdLst>
              <a:gd name="connsiteX0" fmla="*/ 520996 w 1041992"/>
              <a:gd name="connsiteY0" fmla="*/ 0 h 1041992"/>
              <a:gd name="connsiteX1" fmla="*/ 1041992 w 1041992"/>
              <a:gd name="connsiteY1" fmla="*/ 520996 h 1041992"/>
              <a:gd name="connsiteX2" fmla="*/ 520996 w 1041992"/>
              <a:gd name="connsiteY2" fmla="*/ 1041992 h 1041992"/>
              <a:gd name="connsiteX3" fmla="*/ 0 w 1041992"/>
              <a:gd name="connsiteY3" fmla="*/ 520996 h 1041992"/>
              <a:gd name="connsiteX4" fmla="*/ 520996 w 1041992"/>
              <a:gd name="connsiteY4" fmla="*/ 0 h 104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992" h="1041992">
                <a:moveTo>
                  <a:pt x="520996" y="0"/>
                </a:moveTo>
                <a:cubicBezTo>
                  <a:pt x="808734" y="0"/>
                  <a:pt x="1041992" y="233258"/>
                  <a:pt x="1041992" y="520996"/>
                </a:cubicBezTo>
                <a:cubicBezTo>
                  <a:pt x="1041992" y="808734"/>
                  <a:pt x="808734" y="1041992"/>
                  <a:pt x="520996" y="1041992"/>
                </a:cubicBezTo>
                <a:cubicBezTo>
                  <a:pt x="233258" y="1041992"/>
                  <a:pt x="0" y="808734"/>
                  <a:pt x="0" y="520996"/>
                </a:cubicBezTo>
                <a:cubicBezTo>
                  <a:pt x="0" y="233258"/>
                  <a:pt x="233258" y="0"/>
                  <a:pt x="520996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22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F48619-179A-2B41-8E56-6851778F78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118B1F-95BF-2247-BB67-CD0207276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E721F6-EDFA-484D-92FA-10F037951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A20CC31-0942-F24F-BC1D-B50C4931D6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83869" y="1447439"/>
            <a:ext cx="6773371" cy="5410562"/>
          </a:xfrm>
          <a:custGeom>
            <a:avLst/>
            <a:gdLst>
              <a:gd name="connsiteX0" fmla="*/ 3277347 w 6773371"/>
              <a:gd name="connsiteY0" fmla="*/ 3731569 h 5410562"/>
              <a:gd name="connsiteX1" fmla="*/ 5081438 w 6773371"/>
              <a:gd name="connsiteY1" fmla="*/ 3731569 h 5410562"/>
              <a:gd name="connsiteX2" fmla="*/ 5764806 w 6773371"/>
              <a:gd name="connsiteY2" fmla="*/ 5098304 h 5410562"/>
              <a:gd name="connsiteX3" fmla="*/ 5608677 w 6773371"/>
              <a:gd name="connsiteY3" fmla="*/ 5410562 h 5410562"/>
              <a:gd name="connsiteX4" fmla="*/ 2750108 w 6773371"/>
              <a:gd name="connsiteY4" fmla="*/ 5410562 h 5410562"/>
              <a:gd name="connsiteX5" fmla="*/ 2593979 w 6773371"/>
              <a:gd name="connsiteY5" fmla="*/ 5098304 h 5410562"/>
              <a:gd name="connsiteX6" fmla="*/ 5441814 w 6773371"/>
              <a:gd name="connsiteY6" fmla="*/ 3027285 h 5410562"/>
              <a:gd name="connsiteX7" fmla="*/ 6270027 w 6773371"/>
              <a:gd name="connsiteY7" fmla="*/ 3027285 h 5410562"/>
              <a:gd name="connsiteX8" fmla="*/ 6583744 w 6773371"/>
              <a:gd name="connsiteY8" fmla="*/ 3654719 h 5410562"/>
              <a:gd name="connsiteX9" fmla="*/ 6270027 w 6773371"/>
              <a:gd name="connsiteY9" fmla="*/ 4282153 h 5410562"/>
              <a:gd name="connsiteX10" fmla="*/ 5441814 w 6773371"/>
              <a:gd name="connsiteY10" fmla="*/ 4282153 h 5410562"/>
              <a:gd name="connsiteX11" fmla="*/ 5128097 w 6773371"/>
              <a:gd name="connsiteY11" fmla="*/ 3654719 h 5410562"/>
              <a:gd name="connsiteX12" fmla="*/ 683368 w 6773371"/>
              <a:gd name="connsiteY12" fmla="*/ 2287984 h 5410562"/>
              <a:gd name="connsiteX13" fmla="*/ 2487459 w 6773371"/>
              <a:gd name="connsiteY13" fmla="*/ 2287984 h 5410562"/>
              <a:gd name="connsiteX14" fmla="*/ 3170827 w 6773371"/>
              <a:gd name="connsiteY14" fmla="*/ 3654719 h 5410562"/>
              <a:gd name="connsiteX15" fmla="*/ 2487459 w 6773371"/>
              <a:gd name="connsiteY15" fmla="*/ 5021454 h 5410562"/>
              <a:gd name="connsiteX16" fmla="*/ 683368 w 6773371"/>
              <a:gd name="connsiteY16" fmla="*/ 5021454 h 5410562"/>
              <a:gd name="connsiteX17" fmla="*/ 0 w 6773371"/>
              <a:gd name="connsiteY17" fmla="*/ 3654719 h 5410562"/>
              <a:gd name="connsiteX18" fmla="*/ 3277347 w 6773371"/>
              <a:gd name="connsiteY18" fmla="*/ 852181 h 5410562"/>
              <a:gd name="connsiteX19" fmla="*/ 5081438 w 6773371"/>
              <a:gd name="connsiteY19" fmla="*/ 852181 h 5410562"/>
              <a:gd name="connsiteX20" fmla="*/ 5764806 w 6773371"/>
              <a:gd name="connsiteY20" fmla="*/ 2218916 h 5410562"/>
              <a:gd name="connsiteX21" fmla="*/ 5081438 w 6773371"/>
              <a:gd name="connsiteY21" fmla="*/ 3585651 h 5410562"/>
              <a:gd name="connsiteX22" fmla="*/ 3277347 w 6773371"/>
              <a:gd name="connsiteY22" fmla="*/ 3585651 h 5410562"/>
              <a:gd name="connsiteX23" fmla="*/ 2593979 w 6773371"/>
              <a:gd name="connsiteY23" fmla="*/ 2218916 h 5410562"/>
              <a:gd name="connsiteX24" fmla="*/ 5631441 w 6773371"/>
              <a:gd name="connsiteY24" fmla="*/ 546731 h 5410562"/>
              <a:gd name="connsiteX25" fmla="*/ 6459654 w 6773371"/>
              <a:gd name="connsiteY25" fmla="*/ 546731 h 5410562"/>
              <a:gd name="connsiteX26" fmla="*/ 6773371 w 6773371"/>
              <a:gd name="connsiteY26" fmla="*/ 1174165 h 5410562"/>
              <a:gd name="connsiteX27" fmla="*/ 6459654 w 6773371"/>
              <a:gd name="connsiteY27" fmla="*/ 1801599 h 5410562"/>
              <a:gd name="connsiteX28" fmla="*/ 5631441 w 6773371"/>
              <a:gd name="connsiteY28" fmla="*/ 1801599 h 5410562"/>
              <a:gd name="connsiteX29" fmla="*/ 5317724 w 6773371"/>
              <a:gd name="connsiteY29" fmla="*/ 1174165 h 5410562"/>
              <a:gd name="connsiteX30" fmla="*/ 1074002 w 6773371"/>
              <a:gd name="connsiteY30" fmla="*/ 0 h 5410562"/>
              <a:gd name="connsiteX31" fmla="*/ 2528640 w 6773371"/>
              <a:gd name="connsiteY31" fmla="*/ 0 h 5410562"/>
              <a:gd name="connsiteX32" fmla="*/ 3079639 w 6773371"/>
              <a:gd name="connsiteY32" fmla="*/ 1101997 h 5410562"/>
              <a:gd name="connsiteX33" fmla="*/ 2528640 w 6773371"/>
              <a:gd name="connsiteY33" fmla="*/ 2203994 h 5410562"/>
              <a:gd name="connsiteX34" fmla="*/ 1074002 w 6773371"/>
              <a:gd name="connsiteY34" fmla="*/ 2203994 h 5410562"/>
              <a:gd name="connsiteX35" fmla="*/ 523003 w 6773371"/>
              <a:gd name="connsiteY35" fmla="*/ 1101997 h 541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773371" h="5410562">
                <a:moveTo>
                  <a:pt x="3277347" y="3731569"/>
                </a:moveTo>
                <a:lnTo>
                  <a:pt x="5081438" y="3731569"/>
                </a:lnTo>
                <a:lnTo>
                  <a:pt x="5764806" y="5098304"/>
                </a:lnTo>
                <a:lnTo>
                  <a:pt x="5608677" y="5410562"/>
                </a:lnTo>
                <a:lnTo>
                  <a:pt x="2750108" y="5410562"/>
                </a:lnTo>
                <a:lnTo>
                  <a:pt x="2593979" y="5098304"/>
                </a:lnTo>
                <a:close/>
                <a:moveTo>
                  <a:pt x="5441814" y="3027285"/>
                </a:moveTo>
                <a:lnTo>
                  <a:pt x="6270027" y="3027285"/>
                </a:lnTo>
                <a:lnTo>
                  <a:pt x="6583744" y="3654719"/>
                </a:lnTo>
                <a:lnTo>
                  <a:pt x="6270027" y="4282153"/>
                </a:lnTo>
                <a:lnTo>
                  <a:pt x="5441814" y="4282153"/>
                </a:lnTo>
                <a:lnTo>
                  <a:pt x="5128097" y="3654719"/>
                </a:lnTo>
                <a:close/>
                <a:moveTo>
                  <a:pt x="683368" y="2287984"/>
                </a:moveTo>
                <a:lnTo>
                  <a:pt x="2487459" y="2287984"/>
                </a:lnTo>
                <a:lnTo>
                  <a:pt x="3170827" y="3654719"/>
                </a:lnTo>
                <a:lnTo>
                  <a:pt x="2487459" y="5021454"/>
                </a:lnTo>
                <a:lnTo>
                  <a:pt x="683368" y="5021454"/>
                </a:lnTo>
                <a:lnTo>
                  <a:pt x="0" y="3654719"/>
                </a:lnTo>
                <a:close/>
                <a:moveTo>
                  <a:pt x="3277347" y="852181"/>
                </a:moveTo>
                <a:lnTo>
                  <a:pt x="5081438" y="852181"/>
                </a:lnTo>
                <a:lnTo>
                  <a:pt x="5764806" y="2218916"/>
                </a:lnTo>
                <a:lnTo>
                  <a:pt x="5081438" y="3585651"/>
                </a:lnTo>
                <a:lnTo>
                  <a:pt x="3277347" y="3585651"/>
                </a:lnTo>
                <a:lnTo>
                  <a:pt x="2593979" y="2218916"/>
                </a:lnTo>
                <a:close/>
                <a:moveTo>
                  <a:pt x="5631441" y="546731"/>
                </a:moveTo>
                <a:lnTo>
                  <a:pt x="6459654" y="546731"/>
                </a:lnTo>
                <a:lnTo>
                  <a:pt x="6773371" y="1174165"/>
                </a:lnTo>
                <a:lnTo>
                  <a:pt x="6459654" y="1801599"/>
                </a:lnTo>
                <a:lnTo>
                  <a:pt x="5631441" y="1801599"/>
                </a:lnTo>
                <a:lnTo>
                  <a:pt x="5317724" y="1174165"/>
                </a:lnTo>
                <a:close/>
                <a:moveTo>
                  <a:pt x="1074002" y="0"/>
                </a:moveTo>
                <a:lnTo>
                  <a:pt x="2528640" y="0"/>
                </a:lnTo>
                <a:lnTo>
                  <a:pt x="3079639" y="1101997"/>
                </a:lnTo>
                <a:lnTo>
                  <a:pt x="2528640" y="2203994"/>
                </a:lnTo>
                <a:lnTo>
                  <a:pt x="1074002" y="2203994"/>
                </a:lnTo>
                <a:lnTo>
                  <a:pt x="523003" y="110199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49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CA35D-1E94-B244-9218-54992CC833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754876"/>
          </a:xfrm>
          <a:custGeom>
            <a:avLst/>
            <a:gdLst>
              <a:gd name="connsiteX0" fmla="*/ 0 w 12192000"/>
              <a:gd name="connsiteY0" fmla="*/ 0 h 3754876"/>
              <a:gd name="connsiteX1" fmla="*/ 12192000 w 12192000"/>
              <a:gd name="connsiteY1" fmla="*/ 0 h 3754876"/>
              <a:gd name="connsiteX2" fmla="*/ 12192000 w 12192000"/>
              <a:gd name="connsiteY2" fmla="*/ 3073940 h 3754876"/>
              <a:gd name="connsiteX3" fmla="*/ 6490944 w 12192000"/>
              <a:gd name="connsiteY3" fmla="*/ 3073940 h 3754876"/>
              <a:gd name="connsiteX4" fmla="*/ 6096001 w 12192000"/>
              <a:gd name="connsiteY4" fmla="*/ 3754876 h 3754876"/>
              <a:gd name="connsiteX5" fmla="*/ 5701060 w 12192000"/>
              <a:gd name="connsiteY5" fmla="*/ 3073940 h 3754876"/>
              <a:gd name="connsiteX6" fmla="*/ 0 w 12192000"/>
              <a:gd name="connsiteY6" fmla="*/ 3073940 h 375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754876">
                <a:moveTo>
                  <a:pt x="0" y="0"/>
                </a:moveTo>
                <a:lnTo>
                  <a:pt x="12192000" y="0"/>
                </a:lnTo>
                <a:lnTo>
                  <a:pt x="12192000" y="3073940"/>
                </a:lnTo>
                <a:lnTo>
                  <a:pt x="6490944" y="3073940"/>
                </a:lnTo>
                <a:lnTo>
                  <a:pt x="6096001" y="3754876"/>
                </a:lnTo>
                <a:lnTo>
                  <a:pt x="5701060" y="3073940"/>
                </a:lnTo>
                <a:lnTo>
                  <a:pt x="0" y="307394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55263C-0845-DF41-9A75-E2CFBF4A6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EFDB39-313C-F243-8C1D-A67623A2F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C13CC1-256F-A742-8760-260174BC4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417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C088B2-8DE3-F345-AF0D-A106058ED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7FD43-89AF-F943-81D8-F02DC1EBC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0FC42-87D3-994F-A41A-C8B0CA2FC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37A1FA5-94BD-0345-8B0B-A6E7FB7B6A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6762712" cy="6858000"/>
          </a:xfrm>
          <a:custGeom>
            <a:avLst/>
            <a:gdLst>
              <a:gd name="connsiteX0" fmla="*/ 0 w 6762712"/>
              <a:gd name="connsiteY0" fmla="*/ 0 h 6858000"/>
              <a:gd name="connsiteX1" fmla="*/ 3436536 w 6762712"/>
              <a:gd name="connsiteY1" fmla="*/ 0 h 6858000"/>
              <a:gd name="connsiteX2" fmla="*/ 3436536 w 6762712"/>
              <a:gd name="connsiteY2" fmla="*/ 1 h 6858000"/>
              <a:gd name="connsiteX3" fmla="*/ 5440680 w 6762712"/>
              <a:gd name="connsiteY3" fmla="*/ 1 h 6858000"/>
              <a:gd name="connsiteX4" fmla="*/ 5679440 w 6762712"/>
              <a:gd name="connsiteY4" fmla="*/ 228601 h 6858000"/>
              <a:gd name="connsiteX5" fmla="*/ 5440680 w 6762712"/>
              <a:gd name="connsiteY5" fmla="*/ 457201 h 6858000"/>
              <a:gd name="connsiteX6" fmla="*/ 5176520 w 6762712"/>
              <a:gd name="connsiteY6" fmla="*/ 457201 h 6858000"/>
              <a:gd name="connsiteX7" fmla="*/ 4937760 w 6762712"/>
              <a:gd name="connsiteY7" fmla="*/ 685801 h 6858000"/>
              <a:gd name="connsiteX8" fmla="*/ 5083584 w 6762712"/>
              <a:gd name="connsiteY8" fmla="*/ 896437 h 6858000"/>
              <a:gd name="connsiteX9" fmla="*/ 5176519 w 6762712"/>
              <a:gd name="connsiteY9" fmla="*/ 914401 h 6858000"/>
              <a:gd name="connsiteX10" fmla="*/ 5440680 w 6762712"/>
              <a:gd name="connsiteY10" fmla="*/ 914401 h 6858000"/>
              <a:gd name="connsiteX11" fmla="*/ 5679440 w 6762712"/>
              <a:gd name="connsiteY11" fmla="*/ 1143001 h 6858000"/>
              <a:gd name="connsiteX12" fmla="*/ 5440680 w 6762712"/>
              <a:gd name="connsiteY12" fmla="*/ 1371601 h 6858000"/>
              <a:gd name="connsiteX13" fmla="*/ 5176520 w 6762712"/>
              <a:gd name="connsiteY13" fmla="*/ 1371601 h 6858000"/>
              <a:gd name="connsiteX14" fmla="*/ 5083584 w 6762712"/>
              <a:gd name="connsiteY14" fmla="*/ 1389566 h 6858000"/>
              <a:gd name="connsiteX15" fmla="*/ 4937760 w 6762712"/>
              <a:gd name="connsiteY15" fmla="*/ 1600201 h 6858000"/>
              <a:gd name="connsiteX16" fmla="*/ 5083584 w 6762712"/>
              <a:gd name="connsiteY16" fmla="*/ 1810837 h 6858000"/>
              <a:gd name="connsiteX17" fmla="*/ 5176520 w 6762712"/>
              <a:gd name="connsiteY17" fmla="*/ 1828801 h 6858000"/>
              <a:gd name="connsiteX18" fmla="*/ 5991398 w 6762712"/>
              <a:gd name="connsiteY18" fmla="*/ 1828801 h 6858000"/>
              <a:gd name="connsiteX19" fmla="*/ 6230158 w 6762712"/>
              <a:gd name="connsiteY19" fmla="*/ 2057401 h 6858000"/>
              <a:gd name="connsiteX20" fmla="*/ 5991398 w 6762712"/>
              <a:gd name="connsiteY20" fmla="*/ 2286001 h 6858000"/>
              <a:gd name="connsiteX21" fmla="*/ 5513878 w 6762712"/>
              <a:gd name="connsiteY21" fmla="*/ 2286001 h 6858000"/>
              <a:gd name="connsiteX22" fmla="*/ 5275118 w 6762712"/>
              <a:gd name="connsiteY22" fmla="*/ 2514601 h 6858000"/>
              <a:gd name="connsiteX23" fmla="*/ 5513878 w 6762712"/>
              <a:gd name="connsiteY23" fmla="*/ 2743201 h 6858000"/>
              <a:gd name="connsiteX24" fmla="*/ 6461298 w 6762712"/>
              <a:gd name="connsiteY24" fmla="*/ 2743201 h 6858000"/>
              <a:gd name="connsiteX25" fmla="*/ 6700058 w 6762712"/>
              <a:gd name="connsiteY25" fmla="*/ 2971801 h 6858000"/>
              <a:gd name="connsiteX26" fmla="*/ 6461298 w 6762712"/>
              <a:gd name="connsiteY26" fmla="*/ 3200400 h 6858000"/>
              <a:gd name="connsiteX27" fmla="*/ 6199678 w 6762712"/>
              <a:gd name="connsiteY27" fmla="*/ 3200400 h 6858000"/>
              <a:gd name="connsiteX28" fmla="*/ 5960918 w 6762712"/>
              <a:gd name="connsiteY28" fmla="*/ 3429000 h 6858000"/>
              <a:gd name="connsiteX29" fmla="*/ 6199678 w 6762712"/>
              <a:gd name="connsiteY29" fmla="*/ 3657600 h 6858000"/>
              <a:gd name="connsiteX30" fmla="*/ 6523952 w 6762712"/>
              <a:gd name="connsiteY30" fmla="*/ 3657600 h 6858000"/>
              <a:gd name="connsiteX31" fmla="*/ 6762712 w 6762712"/>
              <a:gd name="connsiteY31" fmla="*/ 3886200 h 6858000"/>
              <a:gd name="connsiteX32" fmla="*/ 6523952 w 6762712"/>
              <a:gd name="connsiteY32" fmla="*/ 4114800 h 6858000"/>
              <a:gd name="connsiteX33" fmla="*/ 5556211 w 6762712"/>
              <a:gd name="connsiteY33" fmla="*/ 4114800 h 6858000"/>
              <a:gd name="connsiteX34" fmla="*/ 5317451 w 6762712"/>
              <a:gd name="connsiteY34" fmla="*/ 4343400 h 6858000"/>
              <a:gd name="connsiteX35" fmla="*/ 5556211 w 6762712"/>
              <a:gd name="connsiteY35" fmla="*/ 4572000 h 6858000"/>
              <a:gd name="connsiteX36" fmla="*/ 6033731 w 6762712"/>
              <a:gd name="connsiteY36" fmla="*/ 4572000 h 6858000"/>
              <a:gd name="connsiteX37" fmla="*/ 6272491 w 6762712"/>
              <a:gd name="connsiteY37" fmla="*/ 4800600 h 6858000"/>
              <a:gd name="connsiteX38" fmla="*/ 6033731 w 6762712"/>
              <a:gd name="connsiteY38" fmla="*/ 5029200 h 6858000"/>
              <a:gd name="connsiteX39" fmla="*/ 5818678 w 6762712"/>
              <a:gd name="connsiteY39" fmla="*/ 5029200 h 6858000"/>
              <a:gd name="connsiteX40" fmla="*/ 5579918 w 6762712"/>
              <a:gd name="connsiteY40" fmla="*/ 5257800 h 6858000"/>
              <a:gd name="connsiteX41" fmla="*/ 5818678 w 6762712"/>
              <a:gd name="connsiteY41" fmla="*/ 5486400 h 6858000"/>
              <a:gd name="connsiteX42" fmla="*/ 6033731 w 6762712"/>
              <a:gd name="connsiteY42" fmla="*/ 5486400 h 6858000"/>
              <a:gd name="connsiteX43" fmla="*/ 6272491 w 6762712"/>
              <a:gd name="connsiteY43" fmla="*/ 5715000 h 6858000"/>
              <a:gd name="connsiteX44" fmla="*/ 6033731 w 6762712"/>
              <a:gd name="connsiteY44" fmla="*/ 5943600 h 6858000"/>
              <a:gd name="connsiteX45" fmla="*/ 5457730 w 6762712"/>
              <a:gd name="connsiteY45" fmla="*/ 5943600 h 6858000"/>
              <a:gd name="connsiteX46" fmla="*/ 5218970 w 6762712"/>
              <a:gd name="connsiteY46" fmla="*/ 6172200 h 6858000"/>
              <a:gd name="connsiteX47" fmla="*/ 5457730 w 6762712"/>
              <a:gd name="connsiteY47" fmla="*/ 6400800 h 6858000"/>
              <a:gd name="connsiteX48" fmla="*/ 5736953 w 6762712"/>
              <a:gd name="connsiteY48" fmla="*/ 6400800 h 6858000"/>
              <a:gd name="connsiteX49" fmla="*/ 5975713 w 6762712"/>
              <a:gd name="connsiteY49" fmla="*/ 6629400 h 6858000"/>
              <a:gd name="connsiteX50" fmla="*/ 5736953 w 6762712"/>
              <a:gd name="connsiteY50" fmla="*/ 6858000 h 6858000"/>
              <a:gd name="connsiteX51" fmla="*/ 3436536 w 6762712"/>
              <a:gd name="connsiteY51" fmla="*/ 6858000 h 6858000"/>
              <a:gd name="connsiteX52" fmla="*/ 2048874 w 6762712"/>
              <a:gd name="connsiteY52" fmla="*/ 6858000 h 6858000"/>
              <a:gd name="connsiteX53" fmla="*/ 0 w 6762712"/>
              <a:gd name="connsiteY5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762712" h="6858000">
                <a:moveTo>
                  <a:pt x="0" y="0"/>
                </a:moveTo>
                <a:lnTo>
                  <a:pt x="3436536" y="0"/>
                </a:lnTo>
                <a:lnTo>
                  <a:pt x="3436536" y="1"/>
                </a:lnTo>
                <a:lnTo>
                  <a:pt x="5440680" y="1"/>
                </a:lnTo>
                <a:cubicBezTo>
                  <a:pt x="5572544" y="1"/>
                  <a:pt x="5679440" y="102348"/>
                  <a:pt x="5679440" y="228601"/>
                </a:cubicBezTo>
                <a:cubicBezTo>
                  <a:pt x="5679440" y="354854"/>
                  <a:pt x="5572544" y="457201"/>
                  <a:pt x="5440680" y="457201"/>
                </a:cubicBezTo>
                <a:lnTo>
                  <a:pt x="5176520" y="457201"/>
                </a:lnTo>
                <a:cubicBezTo>
                  <a:pt x="5044656" y="457201"/>
                  <a:pt x="4937760" y="559548"/>
                  <a:pt x="4937760" y="685801"/>
                </a:cubicBezTo>
                <a:cubicBezTo>
                  <a:pt x="4937760" y="780491"/>
                  <a:pt x="4997889" y="861734"/>
                  <a:pt x="5083584" y="896437"/>
                </a:cubicBezTo>
                <a:lnTo>
                  <a:pt x="5176519" y="914401"/>
                </a:lnTo>
                <a:lnTo>
                  <a:pt x="5440680" y="914401"/>
                </a:lnTo>
                <a:cubicBezTo>
                  <a:pt x="5572544" y="914401"/>
                  <a:pt x="5679440" y="1016748"/>
                  <a:pt x="5679440" y="1143001"/>
                </a:cubicBezTo>
                <a:cubicBezTo>
                  <a:pt x="5679440" y="1269254"/>
                  <a:pt x="5572544" y="1371601"/>
                  <a:pt x="5440680" y="1371601"/>
                </a:cubicBezTo>
                <a:lnTo>
                  <a:pt x="5176520" y="1371601"/>
                </a:lnTo>
                <a:lnTo>
                  <a:pt x="5083584" y="1389566"/>
                </a:lnTo>
                <a:cubicBezTo>
                  <a:pt x="4997889" y="1424269"/>
                  <a:pt x="4937760" y="1505512"/>
                  <a:pt x="4937760" y="1600201"/>
                </a:cubicBezTo>
                <a:cubicBezTo>
                  <a:pt x="4937760" y="1694891"/>
                  <a:pt x="4997889" y="1776134"/>
                  <a:pt x="5083584" y="1810837"/>
                </a:cubicBezTo>
                <a:lnTo>
                  <a:pt x="5176520" y="1828801"/>
                </a:lnTo>
                <a:lnTo>
                  <a:pt x="5991398" y="1828801"/>
                </a:lnTo>
                <a:cubicBezTo>
                  <a:pt x="6123262" y="1828801"/>
                  <a:pt x="6230158" y="1931148"/>
                  <a:pt x="6230158" y="2057401"/>
                </a:cubicBezTo>
                <a:cubicBezTo>
                  <a:pt x="6230158" y="2183654"/>
                  <a:pt x="6123262" y="2286001"/>
                  <a:pt x="5991398" y="2286001"/>
                </a:cubicBezTo>
                <a:lnTo>
                  <a:pt x="5513878" y="2286001"/>
                </a:lnTo>
                <a:cubicBezTo>
                  <a:pt x="5382014" y="2286001"/>
                  <a:pt x="5275118" y="2388349"/>
                  <a:pt x="5275118" y="2514601"/>
                </a:cubicBezTo>
                <a:cubicBezTo>
                  <a:pt x="5275118" y="2640854"/>
                  <a:pt x="5382014" y="2743201"/>
                  <a:pt x="5513878" y="2743201"/>
                </a:cubicBezTo>
                <a:lnTo>
                  <a:pt x="6461298" y="2743201"/>
                </a:lnTo>
                <a:cubicBezTo>
                  <a:pt x="6593162" y="2743201"/>
                  <a:pt x="6700058" y="2845548"/>
                  <a:pt x="6700058" y="2971801"/>
                </a:cubicBezTo>
                <a:cubicBezTo>
                  <a:pt x="6700058" y="3098054"/>
                  <a:pt x="6593162" y="3200400"/>
                  <a:pt x="6461298" y="3200400"/>
                </a:cubicBezTo>
                <a:lnTo>
                  <a:pt x="6199678" y="3200400"/>
                </a:lnTo>
                <a:cubicBezTo>
                  <a:pt x="6067814" y="3200400"/>
                  <a:pt x="5960918" y="3302748"/>
                  <a:pt x="5960918" y="3429000"/>
                </a:cubicBezTo>
                <a:cubicBezTo>
                  <a:pt x="5960918" y="3555253"/>
                  <a:pt x="6067814" y="3657600"/>
                  <a:pt x="6199678" y="3657600"/>
                </a:cubicBezTo>
                <a:lnTo>
                  <a:pt x="6523952" y="3657600"/>
                </a:lnTo>
                <a:cubicBezTo>
                  <a:pt x="6655816" y="3657600"/>
                  <a:pt x="6762712" y="3759947"/>
                  <a:pt x="6762712" y="3886200"/>
                </a:cubicBezTo>
                <a:cubicBezTo>
                  <a:pt x="6762712" y="4012453"/>
                  <a:pt x="6655816" y="4114800"/>
                  <a:pt x="6523952" y="4114800"/>
                </a:cubicBezTo>
                <a:lnTo>
                  <a:pt x="5556211" y="4114800"/>
                </a:lnTo>
                <a:cubicBezTo>
                  <a:pt x="5424347" y="4114800"/>
                  <a:pt x="5317451" y="4217148"/>
                  <a:pt x="5317451" y="4343400"/>
                </a:cubicBezTo>
                <a:cubicBezTo>
                  <a:pt x="5317451" y="4469653"/>
                  <a:pt x="5424347" y="4572000"/>
                  <a:pt x="5556211" y="4572000"/>
                </a:cubicBezTo>
                <a:lnTo>
                  <a:pt x="6033731" y="4572000"/>
                </a:lnTo>
                <a:cubicBezTo>
                  <a:pt x="6165595" y="4572000"/>
                  <a:pt x="6272491" y="4674347"/>
                  <a:pt x="6272491" y="4800600"/>
                </a:cubicBezTo>
                <a:cubicBezTo>
                  <a:pt x="6272491" y="4926853"/>
                  <a:pt x="6165595" y="5029200"/>
                  <a:pt x="6033731" y="5029200"/>
                </a:cubicBezTo>
                <a:lnTo>
                  <a:pt x="5818678" y="5029200"/>
                </a:lnTo>
                <a:cubicBezTo>
                  <a:pt x="5686814" y="5029200"/>
                  <a:pt x="5579918" y="5131547"/>
                  <a:pt x="5579918" y="5257800"/>
                </a:cubicBezTo>
                <a:cubicBezTo>
                  <a:pt x="5579918" y="5384053"/>
                  <a:pt x="5686814" y="5486400"/>
                  <a:pt x="5818678" y="5486400"/>
                </a:cubicBezTo>
                <a:lnTo>
                  <a:pt x="6033731" y="5486400"/>
                </a:lnTo>
                <a:cubicBezTo>
                  <a:pt x="6165595" y="5486400"/>
                  <a:pt x="6272491" y="5588747"/>
                  <a:pt x="6272491" y="5715000"/>
                </a:cubicBezTo>
                <a:cubicBezTo>
                  <a:pt x="6272491" y="5841253"/>
                  <a:pt x="6165595" y="5943600"/>
                  <a:pt x="6033731" y="5943600"/>
                </a:cubicBezTo>
                <a:lnTo>
                  <a:pt x="5457730" y="5943600"/>
                </a:lnTo>
                <a:cubicBezTo>
                  <a:pt x="5325866" y="5943600"/>
                  <a:pt x="5218970" y="6045947"/>
                  <a:pt x="5218970" y="6172200"/>
                </a:cubicBezTo>
                <a:cubicBezTo>
                  <a:pt x="5218970" y="6298453"/>
                  <a:pt x="5325866" y="6400800"/>
                  <a:pt x="5457730" y="6400800"/>
                </a:cubicBezTo>
                <a:lnTo>
                  <a:pt x="5736953" y="6400800"/>
                </a:lnTo>
                <a:cubicBezTo>
                  <a:pt x="5868817" y="6400800"/>
                  <a:pt x="5975713" y="6503147"/>
                  <a:pt x="5975713" y="6629400"/>
                </a:cubicBezTo>
                <a:cubicBezTo>
                  <a:pt x="5975713" y="6755653"/>
                  <a:pt x="5868817" y="6858000"/>
                  <a:pt x="5736953" y="6858000"/>
                </a:cubicBezTo>
                <a:lnTo>
                  <a:pt x="3436536" y="6858000"/>
                </a:lnTo>
                <a:lnTo>
                  <a:pt x="2048874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/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118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908B62C-8169-B743-A7AD-524AA5C3C56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35440" y="1715976"/>
            <a:ext cx="2956560" cy="3434455"/>
          </a:xfrm>
          <a:custGeom>
            <a:avLst/>
            <a:gdLst>
              <a:gd name="connsiteX0" fmla="*/ 0 w 2956560"/>
              <a:gd name="connsiteY0" fmla="*/ 0 h 3434455"/>
              <a:gd name="connsiteX1" fmla="*/ 2956560 w 2956560"/>
              <a:gd name="connsiteY1" fmla="*/ 0 h 3434455"/>
              <a:gd name="connsiteX2" fmla="*/ 2956560 w 2956560"/>
              <a:gd name="connsiteY2" fmla="*/ 3434455 h 3434455"/>
              <a:gd name="connsiteX3" fmla="*/ 0 w 2956560"/>
              <a:gd name="connsiteY3" fmla="*/ 3434455 h 3434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6560" h="3434455">
                <a:moveTo>
                  <a:pt x="0" y="0"/>
                </a:moveTo>
                <a:lnTo>
                  <a:pt x="2956560" y="0"/>
                </a:lnTo>
                <a:lnTo>
                  <a:pt x="2956560" y="3434455"/>
                </a:lnTo>
                <a:lnTo>
                  <a:pt x="0" y="343445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C2C9C96-855F-194F-869F-0A3D6AC71C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56960" y="1715976"/>
            <a:ext cx="2956560" cy="3434455"/>
          </a:xfrm>
          <a:custGeom>
            <a:avLst/>
            <a:gdLst>
              <a:gd name="connsiteX0" fmla="*/ 0 w 2956560"/>
              <a:gd name="connsiteY0" fmla="*/ 0 h 3434455"/>
              <a:gd name="connsiteX1" fmla="*/ 2956560 w 2956560"/>
              <a:gd name="connsiteY1" fmla="*/ 0 h 3434455"/>
              <a:gd name="connsiteX2" fmla="*/ 2956560 w 2956560"/>
              <a:gd name="connsiteY2" fmla="*/ 3434455 h 3434455"/>
              <a:gd name="connsiteX3" fmla="*/ 0 w 2956560"/>
              <a:gd name="connsiteY3" fmla="*/ 3434455 h 3434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6560" h="3434455">
                <a:moveTo>
                  <a:pt x="0" y="0"/>
                </a:moveTo>
                <a:lnTo>
                  <a:pt x="2956560" y="0"/>
                </a:lnTo>
                <a:lnTo>
                  <a:pt x="2956560" y="3434455"/>
                </a:lnTo>
                <a:lnTo>
                  <a:pt x="0" y="343445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FC7C311-0976-7A43-BCD2-B7FB2D4824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78480" y="1715976"/>
            <a:ext cx="2956560" cy="3434455"/>
          </a:xfrm>
          <a:custGeom>
            <a:avLst/>
            <a:gdLst>
              <a:gd name="connsiteX0" fmla="*/ 0 w 2956560"/>
              <a:gd name="connsiteY0" fmla="*/ 0 h 3434455"/>
              <a:gd name="connsiteX1" fmla="*/ 2956560 w 2956560"/>
              <a:gd name="connsiteY1" fmla="*/ 0 h 3434455"/>
              <a:gd name="connsiteX2" fmla="*/ 2956560 w 2956560"/>
              <a:gd name="connsiteY2" fmla="*/ 3434455 h 3434455"/>
              <a:gd name="connsiteX3" fmla="*/ 0 w 2956560"/>
              <a:gd name="connsiteY3" fmla="*/ 3434455 h 3434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6560" h="3434455">
                <a:moveTo>
                  <a:pt x="0" y="0"/>
                </a:moveTo>
                <a:lnTo>
                  <a:pt x="2956560" y="0"/>
                </a:lnTo>
                <a:lnTo>
                  <a:pt x="2956560" y="3434455"/>
                </a:lnTo>
                <a:lnTo>
                  <a:pt x="0" y="343445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A98D236-DB26-5649-8339-010252CA08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15976"/>
            <a:ext cx="2956560" cy="3434455"/>
          </a:xfrm>
          <a:custGeom>
            <a:avLst/>
            <a:gdLst>
              <a:gd name="connsiteX0" fmla="*/ 0 w 2956560"/>
              <a:gd name="connsiteY0" fmla="*/ 0 h 3434455"/>
              <a:gd name="connsiteX1" fmla="*/ 2956560 w 2956560"/>
              <a:gd name="connsiteY1" fmla="*/ 0 h 3434455"/>
              <a:gd name="connsiteX2" fmla="*/ 2956560 w 2956560"/>
              <a:gd name="connsiteY2" fmla="*/ 3434455 h 3434455"/>
              <a:gd name="connsiteX3" fmla="*/ 0 w 2956560"/>
              <a:gd name="connsiteY3" fmla="*/ 3434455 h 3434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6560" h="3434455">
                <a:moveTo>
                  <a:pt x="0" y="0"/>
                </a:moveTo>
                <a:lnTo>
                  <a:pt x="2956560" y="0"/>
                </a:lnTo>
                <a:lnTo>
                  <a:pt x="2956560" y="3434455"/>
                </a:lnTo>
                <a:lnTo>
                  <a:pt x="0" y="3434455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FB5E7F-908F-2C4A-929B-64A0CE7B7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F5546F-56E9-2846-87FF-BC98E49B7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7E0B1B-0A8B-9D4D-A4D6-0075006F0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2090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97A0733-3CD3-5A4F-812A-1B826F6C6E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64840" cy="6858000"/>
          </a:xfrm>
          <a:custGeom>
            <a:avLst/>
            <a:gdLst>
              <a:gd name="connsiteX0" fmla="*/ 0 w 6864840"/>
              <a:gd name="connsiteY0" fmla="*/ 0 h 6858000"/>
              <a:gd name="connsiteX1" fmla="*/ 6864840 w 6864840"/>
              <a:gd name="connsiteY1" fmla="*/ 0 h 6858000"/>
              <a:gd name="connsiteX2" fmla="*/ 6864840 w 6864840"/>
              <a:gd name="connsiteY2" fmla="*/ 6858000 h 6858000"/>
              <a:gd name="connsiteX3" fmla="*/ 0 w 68648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64840" h="6858000">
                <a:moveTo>
                  <a:pt x="0" y="0"/>
                </a:moveTo>
                <a:lnTo>
                  <a:pt x="6864840" y="0"/>
                </a:lnTo>
                <a:lnTo>
                  <a:pt x="686484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326348-B42A-A149-9FF0-DA7D4B504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B475E2-2083-CD43-BD3E-349D7BD32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D7052C-EE24-8944-8D2E-B58A535E2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2973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24AF158-04A7-AC4F-847A-F8F4403DAC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04444"/>
          </a:xfrm>
          <a:custGeom>
            <a:avLst/>
            <a:gdLst>
              <a:gd name="connsiteX0" fmla="*/ 0 w 12192000"/>
              <a:gd name="connsiteY0" fmla="*/ 0 h 3104444"/>
              <a:gd name="connsiteX1" fmla="*/ 12192000 w 12192000"/>
              <a:gd name="connsiteY1" fmla="*/ 0 h 3104444"/>
              <a:gd name="connsiteX2" fmla="*/ 12192000 w 12192000"/>
              <a:gd name="connsiteY2" fmla="*/ 3104444 h 3104444"/>
              <a:gd name="connsiteX3" fmla="*/ 0 w 12192000"/>
              <a:gd name="connsiteY3" fmla="*/ 3104444 h 310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104444">
                <a:moveTo>
                  <a:pt x="0" y="0"/>
                </a:moveTo>
                <a:lnTo>
                  <a:pt x="12192000" y="0"/>
                </a:lnTo>
                <a:lnTo>
                  <a:pt x="12192000" y="3104444"/>
                </a:lnTo>
                <a:lnTo>
                  <a:pt x="0" y="3104444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605D11-153C-7647-9BED-905A72516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F176A-1AFA-1C4A-8220-07C739C55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D9C9DC-771F-5742-8B40-338B592D7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250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8A85BB2C-7FE8-484F-A041-BC1EF677B72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07076" y="2587590"/>
            <a:ext cx="1682820" cy="1682820"/>
          </a:xfrm>
          <a:custGeom>
            <a:avLst/>
            <a:gdLst>
              <a:gd name="connsiteX0" fmla="*/ 841410 w 1682820"/>
              <a:gd name="connsiteY0" fmla="*/ 0 h 1682820"/>
              <a:gd name="connsiteX1" fmla="*/ 1682820 w 1682820"/>
              <a:gd name="connsiteY1" fmla="*/ 841410 h 1682820"/>
              <a:gd name="connsiteX2" fmla="*/ 841410 w 1682820"/>
              <a:gd name="connsiteY2" fmla="*/ 1682820 h 1682820"/>
              <a:gd name="connsiteX3" fmla="*/ 0 w 1682820"/>
              <a:gd name="connsiteY3" fmla="*/ 841410 h 1682820"/>
              <a:gd name="connsiteX4" fmla="*/ 841410 w 1682820"/>
              <a:gd name="connsiteY4" fmla="*/ 0 h 168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820" h="1682820">
                <a:moveTo>
                  <a:pt x="841410" y="0"/>
                </a:moveTo>
                <a:cubicBezTo>
                  <a:pt x="1306108" y="0"/>
                  <a:pt x="1682820" y="376712"/>
                  <a:pt x="1682820" y="841410"/>
                </a:cubicBezTo>
                <a:cubicBezTo>
                  <a:pt x="1682820" y="1306108"/>
                  <a:pt x="1306108" y="1682820"/>
                  <a:pt x="841410" y="1682820"/>
                </a:cubicBezTo>
                <a:cubicBezTo>
                  <a:pt x="376712" y="1682820"/>
                  <a:pt x="0" y="1306108"/>
                  <a:pt x="0" y="841410"/>
                </a:cubicBezTo>
                <a:cubicBezTo>
                  <a:pt x="0" y="376712"/>
                  <a:pt x="376712" y="0"/>
                  <a:pt x="84141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878CFE7-3731-8D43-B753-978E65A3FBB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530834" y="2587590"/>
            <a:ext cx="1682820" cy="1682820"/>
          </a:xfrm>
          <a:custGeom>
            <a:avLst/>
            <a:gdLst>
              <a:gd name="connsiteX0" fmla="*/ 841410 w 1682820"/>
              <a:gd name="connsiteY0" fmla="*/ 0 h 1682820"/>
              <a:gd name="connsiteX1" fmla="*/ 1682820 w 1682820"/>
              <a:gd name="connsiteY1" fmla="*/ 841410 h 1682820"/>
              <a:gd name="connsiteX2" fmla="*/ 841410 w 1682820"/>
              <a:gd name="connsiteY2" fmla="*/ 1682820 h 1682820"/>
              <a:gd name="connsiteX3" fmla="*/ 0 w 1682820"/>
              <a:gd name="connsiteY3" fmla="*/ 841410 h 1682820"/>
              <a:gd name="connsiteX4" fmla="*/ 841410 w 1682820"/>
              <a:gd name="connsiteY4" fmla="*/ 0 h 168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820" h="1682820">
                <a:moveTo>
                  <a:pt x="841410" y="0"/>
                </a:moveTo>
                <a:cubicBezTo>
                  <a:pt x="1306108" y="0"/>
                  <a:pt x="1682820" y="376712"/>
                  <a:pt x="1682820" y="841410"/>
                </a:cubicBezTo>
                <a:cubicBezTo>
                  <a:pt x="1682820" y="1306108"/>
                  <a:pt x="1306108" y="1682820"/>
                  <a:pt x="841410" y="1682820"/>
                </a:cubicBezTo>
                <a:cubicBezTo>
                  <a:pt x="376712" y="1682820"/>
                  <a:pt x="0" y="1306108"/>
                  <a:pt x="0" y="841410"/>
                </a:cubicBezTo>
                <a:cubicBezTo>
                  <a:pt x="0" y="376712"/>
                  <a:pt x="376712" y="0"/>
                  <a:pt x="84141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471B28D-13CE-5B49-B9ED-2AB113AC40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254591" y="2587590"/>
            <a:ext cx="1682820" cy="1682820"/>
          </a:xfrm>
          <a:custGeom>
            <a:avLst/>
            <a:gdLst>
              <a:gd name="connsiteX0" fmla="*/ 841410 w 1682820"/>
              <a:gd name="connsiteY0" fmla="*/ 0 h 1682820"/>
              <a:gd name="connsiteX1" fmla="*/ 1682820 w 1682820"/>
              <a:gd name="connsiteY1" fmla="*/ 841410 h 1682820"/>
              <a:gd name="connsiteX2" fmla="*/ 841410 w 1682820"/>
              <a:gd name="connsiteY2" fmla="*/ 1682820 h 1682820"/>
              <a:gd name="connsiteX3" fmla="*/ 0 w 1682820"/>
              <a:gd name="connsiteY3" fmla="*/ 841410 h 1682820"/>
              <a:gd name="connsiteX4" fmla="*/ 841410 w 1682820"/>
              <a:gd name="connsiteY4" fmla="*/ 0 h 168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820" h="1682820">
                <a:moveTo>
                  <a:pt x="841410" y="0"/>
                </a:moveTo>
                <a:cubicBezTo>
                  <a:pt x="1306108" y="0"/>
                  <a:pt x="1682820" y="376712"/>
                  <a:pt x="1682820" y="841410"/>
                </a:cubicBezTo>
                <a:cubicBezTo>
                  <a:pt x="1682820" y="1306108"/>
                  <a:pt x="1306108" y="1682820"/>
                  <a:pt x="841410" y="1682820"/>
                </a:cubicBezTo>
                <a:cubicBezTo>
                  <a:pt x="376712" y="1682820"/>
                  <a:pt x="0" y="1306108"/>
                  <a:pt x="0" y="841410"/>
                </a:cubicBezTo>
                <a:cubicBezTo>
                  <a:pt x="0" y="376712"/>
                  <a:pt x="376712" y="0"/>
                  <a:pt x="84141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6F7E18D7-DCE7-5947-8320-0A270E742B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978348" y="2587590"/>
            <a:ext cx="1682820" cy="1682820"/>
          </a:xfrm>
          <a:custGeom>
            <a:avLst/>
            <a:gdLst>
              <a:gd name="connsiteX0" fmla="*/ 841410 w 1682820"/>
              <a:gd name="connsiteY0" fmla="*/ 0 h 1682820"/>
              <a:gd name="connsiteX1" fmla="*/ 1682820 w 1682820"/>
              <a:gd name="connsiteY1" fmla="*/ 841410 h 1682820"/>
              <a:gd name="connsiteX2" fmla="*/ 841410 w 1682820"/>
              <a:gd name="connsiteY2" fmla="*/ 1682820 h 1682820"/>
              <a:gd name="connsiteX3" fmla="*/ 0 w 1682820"/>
              <a:gd name="connsiteY3" fmla="*/ 841410 h 1682820"/>
              <a:gd name="connsiteX4" fmla="*/ 841410 w 1682820"/>
              <a:gd name="connsiteY4" fmla="*/ 0 h 168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820" h="1682820">
                <a:moveTo>
                  <a:pt x="841410" y="0"/>
                </a:moveTo>
                <a:cubicBezTo>
                  <a:pt x="1306108" y="0"/>
                  <a:pt x="1682820" y="376712"/>
                  <a:pt x="1682820" y="841410"/>
                </a:cubicBezTo>
                <a:cubicBezTo>
                  <a:pt x="1682820" y="1306108"/>
                  <a:pt x="1306108" y="1682820"/>
                  <a:pt x="841410" y="1682820"/>
                </a:cubicBezTo>
                <a:cubicBezTo>
                  <a:pt x="376712" y="1682820"/>
                  <a:pt x="0" y="1306108"/>
                  <a:pt x="0" y="841410"/>
                </a:cubicBezTo>
                <a:cubicBezTo>
                  <a:pt x="0" y="376712"/>
                  <a:pt x="376712" y="0"/>
                  <a:pt x="84141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FC038B6-21B2-674F-B5A3-15C77E0673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2105" y="2587590"/>
            <a:ext cx="1682820" cy="1682820"/>
          </a:xfrm>
          <a:custGeom>
            <a:avLst/>
            <a:gdLst>
              <a:gd name="connsiteX0" fmla="*/ 841410 w 1682820"/>
              <a:gd name="connsiteY0" fmla="*/ 0 h 1682820"/>
              <a:gd name="connsiteX1" fmla="*/ 1682820 w 1682820"/>
              <a:gd name="connsiteY1" fmla="*/ 841410 h 1682820"/>
              <a:gd name="connsiteX2" fmla="*/ 841410 w 1682820"/>
              <a:gd name="connsiteY2" fmla="*/ 1682820 h 1682820"/>
              <a:gd name="connsiteX3" fmla="*/ 0 w 1682820"/>
              <a:gd name="connsiteY3" fmla="*/ 841410 h 1682820"/>
              <a:gd name="connsiteX4" fmla="*/ 841410 w 1682820"/>
              <a:gd name="connsiteY4" fmla="*/ 0 h 1682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2820" h="1682820">
                <a:moveTo>
                  <a:pt x="841410" y="0"/>
                </a:moveTo>
                <a:cubicBezTo>
                  <a:pt x="1306108" y="0"/>
                  <a:pt x="1682820" y="376712"/>
                  <a:pt x="1682820" y="841410"/>
                </a:cubicBezTo>
                <a:cubicBezTo>
                  <a:pt x="1682820" y="1306108"/>
                  <a:pt x="1306108" y="1682820"/>
                  <a:pt x="841410" y="1682820"/>
                </a:cubicBezTo>
                <a:cubicBezTo>
                  <a:pt x="376712" y="1682820"/>
                  <a:pt x="0" y="1306108"/>
                  <a:pt x="0" y="841410"/>
                </a:cubicBezTo>
                <a:cubicBezTo>
                  <a:pt x="0" y="376712"/>
                  <a:pt x="376712" y="0"/>
                  <a:pt x="84141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381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F10098E-0545-5743-AF63-C8F2B1A553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4E9D67-7794-4841-AB2B-1B16D50AC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1C1C78-BFE8-4847-8754-32787E73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402592-F2C7-EF4D-82D6-9FC8D24E53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927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59730AA-82A9-AE4F-A37C-CB00940E386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848256"/>
            <a:ext cx="12192000" cy="3920247"/>
          </a:xfrm>
          <a:custGeom>
            <a:avLst/>
            <a:gdLst>
              <a:gd name="connsiteX0" fmla="*/ 0 w 12192000"/>
              <a:gd name="connsiteY0" fmla="*/ 0 h 3920247"/>
              <a:gd name="connsiteX1" fmla="*/ 12192000 w 12192000"/>
              <a:gd name="connsiteY1" fmla="*/ 0 h 3920247"/>
              <a:gd name="connsiteX2" fmla="*/ 12192000 w 12192000"/>
              <a:gd name="connsiteY2" fmla="*/ 3920247 h 3920247"/>
              <a:gd name="connsiteX3" fmla="*/ 0 w 12192000"/>
              <a:gd name="connsiteY3" fmla="*/ 3920247 h 3920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920247">
                <a:moveTo>
                  <a:pt x="0" y="0"/>
                </a:moveTo>
                <a:lnTo>
                  <a:pt x="12192000" y="0"/>
                </a:lnTo>
                <a:lnTo>
                  <a:pt x="12192000" y="3920247"/>
                </a:lnTo>
                <a:lnTo>
                  <a:pt x="0" y="392024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EBD2BF-E1BE-1441-A7E4-07177C583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10BC55-E643-0740-9410-338A17047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3A1D9-9F6B-984F-89EC-1F19722AE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133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71048C-6A9F-5340-B6C2-AEF354715C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01583" y="1945532"/>
            <a:ext cx="3608962" cy="3425520"/>
          </a:xfrm>
          <a:custGeom>
            <a:avLst/>
            <a:gdLst>
              <a:gd name="connsiteX0" fmla="*/ 152641 w 3608962"/>
              <a:gd name="connsiteY0" fmla="*/ 0 h 3425520"/>
              <a:gd name="connsiteX1" fmla="*/ 3608962 w 3608962"/>
              <a:gd name="connsiteY1" fmla="*/ 0 h 3425520"/>
              <a:gd name="connsiteX2" fmla="*/ 3608962 w 3608962"/>
              <a:gd name="connsiteY2" fmla="*/ 3272879 h 3425520"/>
              <a:gd name="connsiteX3" fmla="*/ 3456321 w 3608962"/>
              <a:gd name="connsiteY3" fmla="*/ 3425520 h 3425520"/>
              <a:gd name="connsiteX4" fmla="*/ 0 w 3608962"/>
              <a:gd name="connsiteY4" fmla="*/ 3425520 h 3425520"/>
              <a:gd name="connsiteX5" fmla="*/ 0 w 3608962"/>
              <a:gd name="connsiteY5" fmla="*/ 152641 h 3425520"/>
              <a:gd name="connsiteX6" fmla="*/ 152641 w 3608962"/>
              <a:gd name="connsiteY6" fmla="*/ 0 h 342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8962" h="3425520">
                <a:moveTo>
                  <a:pt x="152641" y="0"/>
                </a:moveTo>
                <a:lnTo>
                  <a:pt x="3608962" y="0"/>
                </a:lnTo>
                <a:lnTo>
                  <a:pt x="3608962" y="3272879"/>
                </a:lnTo>
                <a:cubicBezTo>
                  <a:pt x="3608962" y="3357180"/>
                  <a:pt x="3540622" y="3425520"/>
                  <a:pt x="3456321" y="3425520"/>
                </a:cubicBezTo>
                <a:lnTo>
                  <a:pt x="0" y="3425520"/>
                </a:lnTo>
                <a:lnTo>
                  <a:pt x="0" y="152641"/>
                </a:lnTo>
                <a:cubicBezTo>
                  <a:pt x="0" y="68340"/>
                  <a:pt x="68340" y="0"/>
                  <a:pt x="152641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63500" dist="254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D5DB70-1B0A-4749-AA87-EB7C3FB3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0377F7-A437-DD45-ADD0-36A2BD311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853239-0CBB-B341-8F40-553E87F27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052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DB37571-FFF1-5940-AA16-1513A09D8E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827417" cy="6858000"/>
          </a:xfrm>
          <a:custGeom>
            <a:avLst/>
            <a:gdLst>
              <a:gd name="connsiteX0" fmla="*/ 0 w 6827417"/>
              <a:gd name="connsiteY0" fmla="*/ 0 h 6858000"/>
              <a:gd name="connsiteX1" fmla="*/ 2776462 w 6827417"/>
              <a:gd name="connsiteY1" fmla="*/ 0 h 6858000"/>
              <a:gd name="connsiteX2" fmla="*/ 3205537 w 6827417"/>
              <a:gd name="connsiteY2" fmla="*/ 0 h 6858000"/>
              <a:gd name="connsiteX3" fmla="*/ 6827417 w 6827417"/>
              <a:gd name="connsiteY3" fmla="*/ 0 h 6858000"/>
              <a:gd name="connsiteX4" fmla="*/ 3924728 w 6827417"/>
              <a:gd name="connsiteY4" fmla="*/ 6858000 h 6858000"/>
              <a:gd name="connsiteX5" fmla="*/ 3205537 w 6827417"/>
              <a:gd name="connsiteY5" fmla="*/ 6858000 h 6858000"/>
              <a:gd name="connsiteX6" fmla="*/ 1 w 6827417"/>
              <a:gd name="connsiteY6" fmla="*/ 6858000 h 6858000"/>
              <a:gd name="connsiteX7" fmla="*/ 0 w 682741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27417" h="6858000">
                <a:moveTo>
                  <a:pt x="0" y="0"/>
                </a:moveTo>
                <a:lnTo>
                  <a:pt x="2776462" y="0"/>
                </a:lnTo>
                <a:lnTo>
                  <a:pt x="3205537" y="0"/>
                </a:lnTo>
                <a:lnTo>
                  <a:pt x="6827417" y="0"/>
                </a:lnTo>
                <a:lnTo>
                  <a:pt x="3924728" y="6858000"/>
                </a:lnTo>
                <a:lnTo>
                  <a:pt x="3205537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F916BA-0131-C849-8B57-550F7DC7D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E06E12-FFD5-6B41-AC59-976BC646F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121D01-859A-9041-B4F3-B8E9509D5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04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A88A5B-4E0B-1A46-B757-597F8367B5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557E98-1729-694C-A221-BB381396D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F38EB6-FE21-3040-9570-43A17691D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1439FB-B8E9-244F-B06A-4AF98DEA0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6631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36384F-8842-094E-9A57-C298109B5F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16710" y="0"/>
            <a:ext cx="5675290" cy="6858000"/>
          </a:xfrm>
          <a:custGeom>
            <a:avLst/>
            <a:gdLst>
              <a:gd name="connsiteX0" fmla="*/ 1317474 w 5675290"/>
              <a:gd name="connsiteY0" fmla="*/ 0 h 6858000"/>
              <a:gd name="connsiteX1" fmla="*/ 5675290 w 5675290"/>
              <a:gd name="connsiteY1" fmla="*/ 0 h 6858000"/>
              <a:gd name="connsiteX2" fmla="*/ 5675290 w 5675290"/>
              <a:gd name="connsiteY2" fmla="*/ 6858000 h 6858000"/>
              <a:gd name="connsiteX3" fmla="*/ 1317474 w 5675290"/>
              <a:gd name="connsiteY3" fmla="*/ 6858000 h 6858000"/>
              <a:gd name="connsiteX4" fmla="*/ 1317474 w 5675290"/>
              <a:gd name="connsiteY4" fmla="*/ 6857999 h 6858000"/>
              <a:gd name="connsiteX5" fmla="*/ 0 w 5675290"/>
              <a:gd name="connsiteY5" fmla="*/ 6857999 h 6858000"/>
              <a:gd name="connsiteX6" fmla="*/ 0 w 5675290"/>
              <a:gd name="connsiteY6" fmla="*/ 2588654 h 6858000"/>
              <a:gd name="connsiteX7" fmla="*/ 669700 w 5675290"/>
              <a:gd name="connsiteY7" fmla="*/ 2588654 h 6858000"/>
              <a:gd name="connsiteX8" fmla="*/ 669700 w 5675290"/>
              <a:gd name="connsiteY8" fmla="*/ 401509 h 6858000"/>
              <a:gd name="connsiteX9" fmla="*/ 1317474 w 5675290"/>
              <a:gd name="connsiteY9" fmla="*/ 4015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75290" h="6858000">
                <a:moveTo>
                  <a:pt x="1317474" y="0"/>
                </a:moveTo>
                <a:lnTo>
                  <a:pt x="5675290" y="0"/>
                </a:lnTo>
                <a:lnTo>
                  <a:pt x="5675290" y="6858000"/>
                </a:lnTo>
                <a:lnTo>
                  <a:pt x="1317474" y="6858000"/>
                </a:lnTo>
                <a:lnTo>
                  <a:pt x="1317474" y="6857999"/>
                </a:lnTo>
                <a:lnTo>
                  <a:pt x="0" y="6857999"/>
                </a:lnTo>
                <a:lnTo>
                  <a:pt x="0" y="2588654"/>
                </a:lnTo>
                <a:lnTo>
                  <a:pt x="669700" y="2588654"/>
                </a:lnTo>
                <a:lnTo>
                  <a:pt x="669700" y="401509"/>
                </a:lnTo>
                <a:lnTo>
                  <a:pt x="1317474" y="40150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A6AE05-C92C-AE4D-828F-C4C33A826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90DDA-05CD-3F41-96FD-CCE043EE4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EB9FB0-EFCB-1F48-B4ED-082EB5B4A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863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78F3E8C-7EF7-6241-91DF-0CDDE9A8BE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6739973" cy="6858000"/>
          </a:xfrm>
          <a:custGeom>
            <a:avLst/>
            <a:gdLst>
              <a:gd name="connsiteX0" fmla="*/ 0 w 6739973"/>
              <a:gd name="connsiteY0" fmla="*/ 1125029 h 6858000"/>
              <a:gd name="connsiteX1" fmla="*/ 1731092 w 6739973"/>
              <a:gd name="connsiteY1" fmla="*/ 4123368 h 6858000"/>
              <a:gd name="connsiteX2" fmla="*/ 0 w 6739973"/>
              <a:gd name="connsiteY2" fmla="*/ 5122814 h 6858000"/>
              <a:gd name="connsiteX3" fmla="*/ 0 w 6739973"/>
              <a:gd name="connsiteY3" fmla="*/ 4148857 h 6858000"/>
              <a:gd name="connsiteX4" fmla="*/ 2 w 6739973"/>
              <a:gd name="connsiteY4" fmla="*/ 4148856 h 6858000"/>
              <a:gd name="connsiteX5" fmla="*/ 2 w 6739973"/>
              <a:gd name="connsiteY5" fmla="*/ 3488882 h 6858000"/>
              <a:gd name="connsiteX6" fmla="*/ 0 w 6739973"/>
              <a:gd name="connsiteY6" fmla="*/ 3488879 h 6858000"/>
              <a:gd name="connsiteX7" fmla="*/ 2642623 w 6739973"/>
              <a:gd name="connsiteY7" fmla="*/ 0 h 6858000"/>
              <a:gd name="connsiteX8" fmla="*/ 4007393 w 6739973"/>
              <a:gd name="connsiteY8" fmla="*/ 0 h 6858000"/>
              <a:gd name="connsiteX9" fmla="*/ 6739973 w 6739973"/>
              <a:gd name="connsiteY9" fmla="*/ 4732968 h 6858000"/>
              <a:gd name="connsiteX10" fmla="*/ 3059309 w 6739973"/>
              <a:gd name="connsiteY10" fmla="*/ 6858000 h 6858000"/>
              <a:gd name="connsiteX11" fmla="*/ 1372366 w 6739973"/>
              <a:gd name="connsiteY11" fmla="*/ 6858000 h 6858000"/>
              <a:gd name="connsiteX12" fmla="*/ 5294660 w 6739973"/>
              <a:gd name="connsiteY12" fmla="*/ 4593463 h 6858000"/>
              <a:gd name="connsiteX13" fmla="*/ 1077675 w 6739973"/>
              <a:gd name="connsiteY13" fmla="*/ 0 h 6858000"/>
              <a:gd name="connsiteX14" fmla="*/ 2442444 w 6739973"/>
              <a:gd name="connsiteY14" fmla="*/ 0 h 6858000"/>
              <a:gd name="connsiteX15" fmla="*/ 5063572 w 6739973"/>
              <a:gd name="connsiteY15" fmla="*/ 4539927 h 6858000"/>
              <a:gd name="connsiteX16" fmla="*/ 1048554 w 6739973"/>
              <a:gd name="connsiteY16" fmla="*/ 6858000 h 6858000"/>
              <a:gd name="connsiteX17" fmla="*/ 0 w 6739973"/>
              <a:gd name="connsiteY17" fmla="*/ 6858000 h 6858000"/>
              <a:gd name="connsiteX18" fmla="*/ 0 w 6739973"/>
              <a:gd name="connsiteY18" fmla="*/ 6489427 h 6858000"/>
              <a:gd name="connsiteX19" fmla="*/ 3618260 w 6739973"/>
              <a:gd name="connsiteY19" fmla="*/ 4400423 h 6858000"/>
              <a:gd name="connsiteX20" fmla="*/ 0 w 6739973"/>
              <a:gd name="connsiteY20" fmla="*/ 0 h 6858000"/>
              <a:gd name="connsiteX21" fmla="*/ 879068 w 6739973"/>
              <a:gd name="connsiteY21" fmla="*/ 0 h 6858000"/>
              <a:gd name="connsiteX22" fmla="*/ 3377012 w 6739973"/>
              <a:gd name="connsiteY22" fmla="*/ 4326568 h 6858000"/>
              <a:gd name="connsiteX23" fmla="*/ 0 w 6739973"/>
              <a:gd name="connsiteY23" fmla="*/ 6276287 h 6858000"/>
              <a:gd name="connsiteX24" fmla="*/ 0 w 6739973"/>
              <a:gd name="connsiteY24" fmla="*/ 5302330 h 6858000"/>
              <a:gd name="connsiteX25" fmla="*/ 1931700 w 6739973"/>
              <a:gd name="connsiteY25" fmla="*/ 4187063 h 6858000"/>
              <a:gd name="connsiteX26" fmla="*/ 0 w 6739973"/>
              <a:gd name="connsiteY26" fmla="*/ 8412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739973" h="6858000">
                <a:moveTo>
                  <a:pt x="0" y="1125029"/>
                </a:moveTo>
                <a:lnTo>
                  <a:pt x="1731092" y="4123368"/>
                </a:lnTo>
                <a:lnTo>
                  <a:pt x="0" y="5122814"/>
                </a:lnTo>
                <a:lnTo>
                  <a:pt x="0" y="4148857"/>
                </a:lnTo>
                <a:lnTo>
                  <a:pt x="2" y="4148856"/>
                </a:lnTo>
                <a:lnTo>
                  <a:pt x="2" y="3488882"/>
                </a:lnTo>
                <a:lnTo>
                  <a:pt x="0" y="3488879"/>
                </a:lnTo>
                <a:close/>
                <a:moveTo>
                  <a:pt x="2642623" y="0"/>
                </a:moveTo>
                <a:lnTo>
                  <a:pt x="4007393" y="0"/>
                </a:lnTo>
                <a:lnTo>
                  <a:pt x="6739973" y="4732968"/>
                </a:lnTo>
                <a:lnTo>
                  <a:pt x="3059309" y="6858000"/>
                </a:lnTo>
                <a:lnTo>
                  <a:pt x="1372366" y="6858000"/>
                </a:lnTo>
                <a:lnTo>
                  <a:pt x="5294660" y="4593463"/>
                </a:lnTo>
                <a:close/>
                <a:moveTo>
                  <a:pt x="1077675" y="0"/>
                </a:moveTo>
                <a:lnTo>
                  <a:pt x="2442444" y="0"/>
                </a:lnTo>
                <a:lnTo>
                  <a:pt x="5063572" y="4539927"/>
                </a:lnTo>
                <a:lnTo>
                  <a:pt x="1048554" y="6858000"/>
                </a:lnTo>
                <a:lnTo>
                  <a:pt x="0" y="6858000"/>
                </a:lnTo>
                <a:lnTo>
                  <a:pt x="0" y="6489427"/>
                </a:lnTo>
                <a:lnTo>
                  <a:pt x="3618260" y="4400423"/>
                </a:lnTo>
                <a:close/>
                <a:moveTo>
                  <a:pt x="0" y="0"/>
                </a:moveTo>
                <a:lnTo>
                  <a:pt x="879068" y="0"/>
                </a:lnTo>
                <a:lnTo>
                  <a:pt x="3377012" y="4326568"/>
                </a:lnTo>
                <a:lnTo>
                  <a:pt x="0" y="6276287"/>
                </a:lnTo>
                <a:lnTo>
                  <a:pt x="0" y="5302330"/>
                </a:lnTo>
                <a:lnTo>
                  <a:pt x="1931700" y="4187063"/>
                </a:lnTo>
                <a:lnTo>
                  <a:pt x="0" y="84126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644D8F-0016-4046-8504-222A7DC44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230129-095F-CF45-B5F6-2C3F12182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8FD1F9-5A1A-1D40-822D-FAB4BE2E8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4314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DFB3E0F-860F-C84B-86CC-998784E8D5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90720" y="580633"/>
            <a:ext cx="5611900" cy="5595227"/>
          </a:xfrm>
          <a:custGeom>
            <a:avLst/>
            <a:gdLst>
              <a:gd name="connsiteX0" fmla="*/ 3542786 w 5611900"/>
              <a:gd name="connsiteY0" fmla="*/ 4855078 h 5595227"/>
              <a:gd name="connsiteX1" fmla="*/ 3761729 w 5611900"/>
              <a:gd name="connsiteY1" fmla="*/ 5074021 h 5595227"/>
              <a:gd name="connsiteX2" fmla="*/ 3542786 w 5611900"/>
              <a:gd name="connsiteY2" fmla="*/ 5292964 h 5595227"/>
              <a:gd name="connsiteX3" fmla="*/ 3323843 w 5611900"/>
              <a:gd name="connsiteY3" fmla="*/ 5074021 h 5595227"/>
              <a:gd name="connsiteX4" fmla="*/ 3542786 w 5611900"/>
              <a:gd name="connsiteY4" fmla="*/ 4855078 h 5595227"/>
              <a:gd name="connsiteX5" fmla="*/ 4866969 w 5611900"/>
              <a:gd name="connsiteY5" fmla="*/ 3569558 h 5595227"/>
              <a:gd name="connsiteX6" fmla="*/ 5003196 w 5611900"/>
              <a:gd name="connsiteY6" fmla="*/ 3625985 h 5595227"/>
              <a:gd name="connsiteX7" fmla="*/ 5003196 w 5611900"/>
              <a:gd name="connsiteY7" fmla="*/ 3898439 h 5595227"/>
              <a:gd name="connsiteX8" fmla="*/ 4059959 w 5611900"/>
              <a:gd name="connsiteY8" fmla="*/ 4841676 h 5595227"/>
              <a:gd name="connsiteX9" fmla="*/ 3787505 w 5611900"/>
              <a:gd name="connsiteY9" fmla="*/ 4841676 h 5595227"/>
              <a:gd name="connsiteX10" fmla="*/ 3787505 w 5611900"/>
              <a:gd name="connsiteY10" fmla="*/ 4569222 h 5595227"/>
              <a:gd name="connsiteX11" fmla="*/ 4730742 w 5611900"/>
              <a:gd name="connsiteY11" fmla="*/ 3625985 h 5595227"/>
              <a:gd name="connsiteX12" fmla="*/ 4866969 w 5611900"/>
              <a:gd name="connsiteY12" fmla="*/ 3569558 h 5595227"/>
              <a:gd name="connsiteX13" fmla="*/ 1801327 w 5611900"/>
              <a:gd name="connsiteY13" fmla="*/ 640492 h 5595227"/>
              <a:gd name="connsiteX14" fmla="*/ 1940518 w 5611900"/>
              <a:gd name="connsiteY14" fmla="*/ 698146 h 5595227"/>
              <a:gd name="connsiteX15" fmla="*/ 1940518 w 5611900"/>
              <a:gd name="connsiteY15" fmla="*/ 976527 h 5595227"/>
              <a:gd name="connsiteX16" fmla="*/ 981968 w 5611900"/>
              <a:gd name="connsiteY16" fmla="*/ 1935075 h 5595227"/>
              <a:gd name="connsiteX17" fmla="*/ 703587 w 5611900"/>
              <a:gd name="connsiteY17" fmla="*/ 1935075 h 5595227"/>
              <a:gd name="connsiteX18" fmla="*/ 703588 w 5611900"/>
              <a:gd name="connsiteY18" fmla="*/ 1935075 h 5595227"/>
              <a:gd name="connsiteX19" fmla="*/ 703588 w 5611900"/>
              <a:gd name="connsiteY19" fmla="*/ 1656694 h 5595227"/>
              <a:gd name="connsiteX20" fmla="*/ 1662137 w 5611900"/>
              <a:gd name="connsiteY20" fmla="*/ 698146 h 5595227"/>
              <a:gd name="connsiteX21" fmla="*/ 1801327 w 5611900"/>
              <a:gd name="connsiteY21" fmla="*/ 640492 h 5595227"/>
              <a:gd name="connsiteX22" fmla="*/ 5415056 w 5611900"/>
              <a:gd name="connsiteY22" fmla="*/ 558428 h 5595227"/>
              <a:gd name="connsiteX23" fmla="*/ 5554246 w 5611900"/>
              <a:gd name="connsiteY23" fmla="*/ 616082 h 5595227"/>
              <a:gd name="connsiteX24" fmla="*/ 5554246 w 5611900"/>
              <a:gd name="connsiteY24" fmla="*/ 894463 h 5595227"/>
              <a:gd name="connsiteX25" fmla="*/ 4992769 w 5611900"/>
              <a:gd name="connsiteY25" fmla="*/ 1455938 h 5595227"/>
              <a:gd name="connsiteX26" fmla="*/ 4714389 w 5611900"/>
              <a:gd name="connsiteY26" fmla="*/ 1455938 h 5595227"/>
              <a:gd name="connsiteX27" fmla="*/ 4714390 w 5611900"/>
              <a:gd name="connsiteY27" fmla="*/ 1455938 h 5595227"/>
              <a:gd name="connsiteX28" fmla="*/ 4714390 w 5611900"/>
              <a:gd name="connsiteY28" fmla="*/ 1177558 h 5595227"/>
              <a:gd name="connsiteX29" fmla="*/ 5275865 w 5611900"/>
              <a:gd name="connsiteY29" fmla="*/ 616082 h 5595227"/>
              <a:gd name="connsiteX30" fmla="*/ 5415056 w 5611900"/>
              <a:gd name="connsiteY30" fmla="*/ 558428 h 5595227"/>
              <a:gd name="connsiteX31" fmla="*/ 3398221 w 5611900"/>
              <a:gd name="connsiteY31" fmla="*/ 362921 h 5595227"/>
              <a:gd name="connsiteX32" fmla="*/ 3555664 w 5611900"/>
              <a:gd name="connsiteY32" fmla="*/ 438828 h 5595227"/>
              <a:gd name="connsiteX33" fmla="*/ 3581477 w 5611900"/>
              <a:gd name="connsiteY33" fmla="*/ 743022 h 5595227"/>
              <a:gd name="connsiteX34" fmla="*/ 3194949 w 5611900"/>
              <a:gd name="connsiteY34" fmla="*/ 1129550 h 5595227"/>
              <a:gd name="connsiteX35" fmla="*/ 3230427 w 5611900"/>
              <a:gd name="connsiteY35" fmla="*/ 1136453 h 5595227"/>
              <a:gd name="connsiteX36" fmla="*/ 3307620 w 5611900"/>
              <a:gd name="connsiteY36" fmla="*/ 1187714 h 5595227"/>
              <a:gd name="connsiteX37" fmla="*/ 3307620 w 5611900"/>
              <a:gd name="connsiteY37" fmla="*/ 1517720 h 5595227"/>
              <a:gd name="connsiteX38" fmla="*/ 2433662 w 5611900"/>
              <a:gd name="connsiteY38" fmla="*/ 2391678 h 5595227"/>
              <a:gd name="connsiteX39" fmla="*/ 2422373 w 5611900"/>
              <a:gd name="connsiteY39" fmla="*/ 2437798 h 5595227"/>
              <a:gd name="connsiteX40" fmla="*/ 2479126 w 5611900"/>
              <a:gd name="connsiteY40" fmla="*/ 2595856 h 5595227"/>
              <a:gd name="connsiteX41" fmla="*/ 2479124 w 5611900"/>
              <a:gd name="connsiteY41" fmla="*/ 2595856 h 5595227"/>
              <a:gd name="connsiteX42" fmla="*/ 2692389 w 5611900"/>
              <a:gd name="connsiteY42" fmla="*/ 2639097 h 5595227"/>
              <a:gd name="connsiteX43" fmla="*/ 2747947 w 5611900"/>
              <a:gd name="connsiteY43" fmla="*/ 2602203 h 5595227"/>
              <a:gd name="connsiteX44" fmla="*/ 2720578 w 5611900"/>
              <a:gd name="connsiteY44" fmla="*/ 2643419 h 5595227"/>
              <a:gd name="connsiteX45" fmla="*/ 3001666 w 5611900"/>
              <a:gd name="connsiteY45" fmla="*/ 2362331 h 5595227"/>
              <a:gd name="connsiteX46" fmla="*/ 3280047 w 5611900"/>
              <a:gd name="connsiteY46" fmla="*/ 2362331 h 5595227"/>
              <a:gd name="connsiteX47" fmla="*/ 3337702 w 5611900"/>
              <a:gd name="connsiteY47" fmla="*/ 2501521 h 5595227"/>
              <a:gd name="connsiteX48" fmla="*/ 3323996 w 5611900"/>
              <a:gd name="connsiteY48" fmla="*/ 2571957 h 5595227"/>
              <a:gd name="connsiteX49" fmla="*/ 4157629 w 5611900"/>
              <a:gd name="connsiteY49" fmla="*/ 1738324 h 5595227"/>
              <a:gd name="connsiteX50" fmla="*/ 4436009 w 5611900"/>
              <a:gd name="connsiteY50" fmla="*/ 1738324 h 5595227"/>
              <a:gd name="connsiteX51" fmla="*/ 4479250 w 5611900"/>
              <a:gd name="connsiteY51" fmla="*/ 1951587 h 5595227"/>
              <a:gd name="connsiteX52" fmla="*/ 4448131 w 5611900"/>
              <a:gd name="connsiteY52" fmla="*/ 1998450 h 5595227"/>
              <a:gd name="connsiteX53" fmla="*/ 4674595 w 5611900"/>
              <a:gd name="connsiteY53" fmla="*/ 1771986 h 5595227"/>
              <a:gd name="connsiteX54" fmla="*/ 4952976 w 5611900"/>
              <a:gd name="connsiteY54" fmla="*/ 1771986 h 5595227"/>
              <a:gd name="connsiteX55" fmla="*/ 4952976 w 5611900"/>
              <a:gd name="connsiteY55" fmla="*/ 2050367 h 5595227"/>
              <a:gd name="connsiteX56" fmla="*/ 4469632 w 5611900"/>
              <a:gd name="connsiteY56" fmla="*/ 2533711 h 5595227"/>
              <a:gd name="connsiteX57" fmla="*/ 4435096 w 5611900"/>
              <a:gd name="connsiteY57" fmla="*/ 2603260 h 5595227"/>
              <a:gd name="connsiteX58" fmla="*/ 4451144 w 5611900"/>
              <a:gd name="connsiteY58" fmla="*/ 2802024 h 5595227"/>
              <a:gd name="connsiteX59" fmla="*/ 4451142 w 5611900"/>
              <a:gd name="connsiteY59" fmla="*/ 2802024 h 5595227"/>
              <a:gd name="connsiteX60" fmla="*/ 4732722 w 5611900"/>
              <a:gd name="connsiteY60" fmla="*/ 2776949 h 5595227"/>
              <a:gd name="connsiteX61" fmla="*/ 4786773 w 5611900"/>
              <a:gd name="connsiteY61" fmla="*/ 2733781 h 5595227"/>
              <a:gd name="connsiteX62" fmla="*/ 4852843 w 5611900"/>
              <a:gd name="connsiteY62" fmla="*/ 2667710 h 5595227"/>
              <a:gd name="connsiteX63" fmla="*/ 5131224 w 5611900"/>
              <a:gd name="connsiteY63" fmla="*/ 2667710 h 5595227"/>
              <a:gd name="connsiteX64" fmla="*/ 5131224 w 5611900"/>
              <a:gd name="connsiteY64" fmla="*/ 2946091 h 5595227"/>
              <a:gd name="connsiteX65" fmla="*/ 2539741 w 5611900"/>
              <a:gd name="connsiteY65" fmla="*/ 5537573 h 5595227"/>
              <a:gd name="connsiteX66" fmla="*/ 2261360 w 5611900"/>
              <a:gd name="connsiteY66" fmla="*/ 5537573 h 5595227"/>
              <a:gd name="connsiteX67" fmla="*/ 2261362 w 5611900"/>
              <a:gd name="connsiteY67" fmla="*/ 5537573 h 5595227"/>
              <a:gd name="connsiteX68" fmla="*/ 2218121 w 5611900"/>
              <a:gd name="connsiteY68" fmla="*/ 5324309 h 5595227"/>
              <a:gd name="connsiteX69" fmla="*/ 2224247 w 5611900"/>
              <a:gd name="connsiteY69" fmla="*/ 5315083 h 5595227"/>
              <a:gd name="connsiteX70" fmla="*/ 2218747 w 5611900"/>
              <a:gd name="connsiteY70" fmla="*/ 5319476 h 5595227"/>
              <a:gd name="connsiteX71" fmla="*/ 2234074 w 5611900"/>
              <a:gd name="connsiteY71" fmla="*/ 5300285 h 5595227"/>
              <a:gd name="connsiteX72" fmla="*/ 2261362 w 5611900"/>
              <a:gd name="connsiteY72" fmla="*/ 5259192 h 5595227"/>
              <a:gd name="connsiteX73" fmla="*/ 2280116 w 5611900"/>
              <a:gd name="connsiteY73" fmla="*/ 5240438 h 5595227"/>
              <a:gd name="connsiteX74" fmla="*/ 2318353 w 5611900"/>
              <a:gd name="connsiteY74" fmla="*/ 5163434 h 5595227"/>
              <a:gd name="connsiteX75" fmla="*/ 2302304 w 5611900"/>
              <a:gd name="connsiteY75" fmla="*/ 4964671 h 5595227"/>
              <a:gd name="connsiteX76" fmla="*/ 2020726 w 5611900"/>
              <a:gd name="connsiteY76" fmla="*/ 4989746 h 5595227"/>
              <a:gd name="connsiteX77" fmla="*/ 1985311 w 5611900"/>
              <a:gd name="connsiteY77" fmla="*/ 5018031 h 5595227"/>
              <a:gd name="connsiteX78" fmla="*/ 1972923 w 5611900"/>
              <a:gd name="connsiteY78" fmla="*/ 5030418 h 5595227"/>
              <a:gd name="connsiteX79" fmla="*/ 1954395 w 5611900"/>
              <a:gd name="connsiteY79" fmla="*/ 5042722 h 5595227"/>
              <a:gd name="connsiteX80" fmla="*/ 1941186 w 5611900"/>
              <a:gd name="connsiteY80" fmla="*/ 5053271 h 5595227"/>
              <a:gd name="connsiteX81" fmla="*/ 1944210 w 5611900"/>
              <a:gd name="connsiteY81" fmla="*/ 5049485 h 5595227"/>
              <a:gd name="connsiteX82" fmla="*/ 1907806 w 5611900"/>
              <a:gd name="connsiteY82" fmla="*/ 5073659 h 5595227"/>
              <a:gd name="connsiteX83" fmla="*/ 1694543 w 5611900"/>
              <a:gd name="connsiteY83" fmla="*/ 5030418 h 5595227"/>
              <a:gd name="connsiteX84" fmla="*/ 1694544 w 5611900"/>
              <a:gd name="connsiteY84" fmla="*/ 5030418 h 5595227"/>
              <a:gd name="connsiteX85" fmla="*/ 1694544 w 5611900"/>
              <a:gd name="connsiteY85" fmla="*/ 4752037 h 5595227"/>
              <a:gd name="connsiteX86" fmla="*/ 1735435 w 5611900"/>
              <a:gd name="connsiteY86" fmla="*/ 4711146 h 5595227"/>
              <a:gd name="connsiteX87" fmla="*/ 1688569 w 5611900"/>
              <a:gd name="connsiteY87" fmla="*/ 4742267 h 5595227"/>
              <a:gd name="connsiteX88" fmla="*/ 1475305 w 5611900"/>
              <a:gd name="connsiteY88" fmla="*/ 4699026 h 5595227"/>
              <a:gd name="connsiteX89" fmla="*/ 1475306 w 5611900"/>
              <a:gd name="connsiteY89" fmla="*/ 4699026 h 5595227"/>
              <a:gd name="connsiteX90" fmla="*/ 1417652 w 5611900"/>
              <a:gd name="connsiteY90" fmla="*/ 4559836 h 5595227"/>
              <a:gd name="connsiteX91" fmla="*/ 1431358 w 5611900"/>
              <a:gd name="connsiteY91" fmla="*/ 4489400 h 5595227"/>
              <a:gd name="connsiteX92" fmla="*/ 597725 w 5611900"/>
              <a:gd name="connsiteY92" fmla="*/ 5323034 h 5595227"/>
              <a:gd name="connsiteX93" fmla="*/ 319344 w 5611900"/>
              <a:gd name="connsiteY93" fmla="*/ 5323034 h 5595227"/>
              <a:gd name="connsiteX94" fmla="*/ 319345 w 5611900"/>
              <a:gd name="connsiteY94" fmla="*/ 5323034 h 5595227"/>
              <a:gd name="connsiteX95" fmla="*/ 319345 w 5611900"/>
              <a:gd name="connsiteY95" fmla="*/ 5044653 h 5595227"/>
              <a:gd name="connsiteX96" fmla="*/ 1316675 w 5611900"/>
              <a:gd name="connsiteY96" fmla="*/ 4047323 h 5595227"/>
              <a:gd name="connsiteX97" fmla="*/ 1304888 w 5611900"/>
              <a:gd name="connsiteY97" fmla="*/ 4055149 h 5595227"/>
              <a:gd name="connsiteX98" fmla="*/ 1334030 w 5611900"/>
              <a:gd name="connsiteY98" fmla="*/ 4011265 h 5595227"/>
              <a:gd name="connsiteX99" fmla="*/ 1290788 w 5611900"/>
              <a:gd name="connsiteY99" fmla="*/ 3798001 h 5595227"/>
              <a:gd name="connsiteX100" fmla="*/ 1077526 w 5611900"/>
              <a:gd name="connsiteY100" fmla="*/ 3754761 h 5595227"/>
              <a:gd name="connsiteX101" fmla="*/ 1056849 w 5611900"/>
              <a:gd name="connsiteY101" fmla="*/ 3768492 h 5595227"/>
              <a:gd name="connsiteX102" fmla="*/ 651781 w 5611900"/>
              <a:gd name="connsiteY102" fmla="*/ 4173559 h 5595227"/>
              <a:gd name="connsiteX103" fmla="*/ 321774 w 5611900"/>
              <a:gd name="connsiteY103" fmla="*/ 4173559 h 5595227"/>
              <a:gd name="connsiteX104" fmla="*/ 321774 w 5611900"/>
              <a:gd name="connsiteY104" fmla="*/ 3843552 h 5595227"/>
              <a:gd name="connsiteX105" fmla="*/ 804490 w 5611900"/>
              <a:gd name="connsiteY105" fmla="*/ 3360836 h 5595227"/>
              <a:gd name="connsiteX106" fmla="*/ 803151 w 5611900"/>
              <a:gd name="connsiteY106" fmla="*/ 3353366 h 5595227"/>
              <a:gd name="connsiteX107" fmla="*/ 734668 w 5611900"/>
              <a:gd name="connsiteY107" fmla="*/ 3237340 h 5595227"/>
              <a:gd name="connsiteX108" fmla="*/ 659503 w 5611900"/>
              <a:gd name="connsiteY108" fmla="*/ 3184052 h 5595227"/>
              <a:gd name="connsiteX109" fmla="*/ 639038 w 5611900"/>
              <a:gd name="connsiteY109" fmla="*/ 3178426 h 5595227"/>
              <a:gd name="connsiteX110" fmla="*/ 398354 w 5611900"/>
              <a:gd name="connsiteY110" fmla="*/ 3419110 h 5595227"/>
              <a:gd name="connsiteX111" fmla="*/ 68348 w 5611900"/>
              <a:gd name="connsiteY111" fmla="*/ 3419110 h 5595227"/>
              <a:gd name="connsiteX112" fmla="*/ 68348 w 5611900"/>
              <a:gd name="connsiteY112" fmla="*/ 3089103 h 5595227"/>
              <a:gd name="connsiteX113" fmla="*/ 2515555 w 5611900"/>
              <a:gd name="connsiteY113" fmla="*/ 641896 h 5595227"/>
              <a:gd name="connsiteX114" fmla="*/ 2680558 w 5611900"/>
              <a:gd name="connsiteY114" fmla="*/ 573550 h 5595227"/>
              <a:gd name="connsiteX115" fmla="*/ 2845561 w 5611900"/>
              <a:gd name="connsiteY115" fmla="*/ 641896 h 5595227"/>
              <a:gd name="connsiteX116" fmla="*/ 2896821 w 5611900"/>
              <a:gd name="connsiteY116" fmla="*/ 719090 h 5595227"/>
              <a:gd name="connsiteX117" fmla="*/ 2907926 w 5611900"/>
              <a:gd name="connsiteY117" fmla="*/ 756558 h 5595227"/>
              <a:gd name="connsiteX118" fmla="*/ 3251470 w 5611900"/>
              <a:gd name="connsiteY118" fmla="*/ 413014 h 5595227"/>
              <a:gd name="connsiteX119" fmla="*/ 3398221 w 5611900"/>
              <a:gd name="connsiteY119" fmla="*/ 362921 h 5595227"/>
              <a:gd name="connsiteX120" fmla="*/ 4755635 w 5611900"/>
              <a:gd name="connsiteY120" fmla="*/ 355359 h 5595227"/>
              <a:gd name="connsiteX121" fmla="*/ 4894825 w 5611900"/>
              <a:gd name="connsiteY121" fmla="*/ 413014 h 5595227"/>
              <a:gd name="connsiteX122" fmla="*/ 4894825 w 5611900"/>
              <a:gd name="connsiteY122" fmla="*/ 691395 h 5595227"/>
              <a:gd name="connsiteX123" fmla="*/ 3673502 w 5611900"/>
              <a:gd name="connsiteY123" fmla="*/ 1912716 h 5595227"/>
              <a:gd name="connsiteX124" fmla="*/ 3395121 w 5611900"/>
              <a:gd name="connsiteY124" fmla="*/ 1912716 h 5595227"/>
              <a:gd name="connsiteX125" fmla="*/ 3395123 w 5611900"/>
              <a:gd name="connsiteY125" fmla="*/ 1912716 h 5595227"/>
              <a:gd name="connsiteX126" fmla="*/ 3395123 w 5611900"/>
              <a:gd name="connsiteY126" fmla="*/ 1634335 h 5595227"/>
              <a:gd name="connsiteX127" fmla="*/ 4616445 w 5611900"/>
              <a:gd name="connsiteY127" fmla="*/ 413014 h 5595227"/>
              <a:gd name="connsiteX128" fmla="*/ 4755635 w 5611900"/>
              <a:gd name="connsiteY128" fmla="*/ 355359 h 5595227"/>
              <a:gd name="connsiteX129" fmla="*/ 3791507 w 5611900"/>
              <a:gd name="connsiteY129" fmla="*/ 9054 h 5595227"/>
              <a:gd name="connsiteX130" fmla="*/ 4005923 w 5611900"/>
              <a:gd name="connsiteY130" fmla="*/ 223470 h 5595227"/>
              <a:gd name="connsiteX131" fmla="*/ 3791507 w 5611900"/>
              <a:gd name="connsiteY131" fmla="*/ 437886 h 5595227"/>
              <a:gd name="connsiteX132" fmla="*/ 3577091 w 5611900"/>
              <a:gd name="connsiteY132" fmla="*/ 223470 h 5595227"/>
              <a:gd name="connsiteX133" fmla="*/ 3791507 w 5611900"/>
              <a:gd name="connsiteY133" fmla="*/ 9054 h 5595227"/>
              <a:gd name="connsiteX134" fmla="*/ 5117437 w 5611900"/>
              <a:gd name="connsiteY134" fmla="*/ 0 h 5595227"/>
              <a:gd name="connsiteX135" fmla="*/ 5336380 w 5611900"/>
              <a:gd name="connsiteY135" fmla="*/ 218943 h 5595227"/>
              <a:gd name="connsiteX136" fmla="*/ 5117437 w 5611900"/>
              <a:gd name="connsiteY136" fmla="*/ 437886 h 5595227"/>
              <a:gd name="connsiteX137" fmla="*/ 4898494 w 5611900"/>
              <a:gd name="connsiteY137" fmla="*/ 218943 h 5595227"/>
              <a:gd name="connsiteX138" fmla="*/ 5117437 w 5611900"/>
              <a:gd name="connsiteY138" fmla="*/ 0 h 5595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5611900" h="5595227">
                <a:moveTo>
                  <a:pt x="3542786" y="4855078"/>
                </a:moveTo>
                <a:cubicBezTo>
                  <a:pt x="3663705" y="4855078"/>
                  <a:pt x="3761729" y="4953102"/>
                  <a:pt x="3761729" y="5074021"/>
                </a:cubicBezTo>
                <a:cubicBezTo>
                  <a:pt x="3761729" y="5194940"/>
                  <a:pt x="3663705" y="5292964"/>
                  <a:pt x="3542786" y="5292964"/>
                </a:cubicBezTo>
                <a:cubicBezTo>
                  <a:pt x="3421867" y="5292964"/>
                  <a:pt x="3323843" y="5194940"/>
                  <a:pt x="3323843" y="5074021"/>
                </a:cubicBezTo>
                <a:cubicBezTo>
                  <a:pt x="3323843" y="4953102"/>
                  <a:pt x="3421867" y="4855078"/>
                  <a:pt x="3542786" y="4855078"/>
                </a:cubicBezTo>
                <a:close/>
                <a:moveTo>
                  <a:pt x="4866969" y="3569558"/>
                </a:moveTo>
                <a:cubicBezTo>
                  <a:pt x="4916273" y="3569558"/>
                  <a:pt x="4965578" y="3588367"/>
                  <a:pt x="5003196" y="3625985"/>
                </a:cubicBezTo>
                <a:cubicBezTo>
                  <a:pt x="5078432" y="3701222"/>
                  <a:pt x="5078432" y="3823203"/>
                  <a:pt x="5003196" y="3898439"/>
                </a:cubicBezTo>
                <a:lnTo>
                  <a:pt x="4059959" y="4841676"/>
                </a:lnTo>
                <a:cubicBezTo>
                  <a:pt x="3984723" y="4916913"/>
                  <a:pt x="3862741" y="4916913"/>
                  <a:pt x="3787505" y="4841676"/>
                </a:cubicBezTo>
                <a:cubicBezTo>
                  <a:pt x="3712269" y="4766440"/>
                  <a:pt x="3712269" y="4644458"/>
                  <a:pt x="3787505" y="4569222"/>
                </a:cubicBezTo>
                <a:lnTo>
                  <a:pt x="4730742" y="3625985"/>
                </a:lnTo>
                <a:cubicBezTo>
                  <a:pt x="4768360" y="3588367"/>
                  <a:pt x="4817664" y="3569558"/>
                  <a:pt x="4866969" y="3569558"/>
                </a:cubicBezTo>
                <a:close/>
                <a:moveTo>
                  <a:pt x="1801327" y="640492"/>
                </a:moveTo>
                <a:cubicBezTo>
                  <a:pt x="1851704" y="640492"/>
                  <a:pt x="1902082" y="659709"/>
                  <a:pt x="1940518" y="698146"/>
                </a:cubicBezTo>
                <a:cubicBezTo>
                  <a:pt x="2017390" y="775018"/>
                  <a:pt x="2017390" y="899654"/>
                  <a:pt x="1940518" y="976527"/>
                </a:cubicBezTo>
                <a:cubicBezTo>
                  <a:pt x="1621001" y="1296044"/>
                  <a:pt x="1301485" y="1615558"/>
                  <a:pt x="981968" y="1935075"/>
                </a:cubicBezTo>
                <a:cubicBezTo>
                  <a:pt x="905096" y="2011947"/>
                  <a:pt x="780460" y="2011947"/>
                  <a:pt x="703587" y="1935075"/>
                </a:cubicBezTo>
                <a:lnTo>
                  <a:pt x="703588" y="1935075"/>
                </a:lnTo>
                <a:cubicBezTo>
                  <a:pt x="626716" y="1858202"/>
                  <a:pt x="626716" y="1733566"/>
                  <a:pt x="703588" y="1656694"/>
                </a:cubicBezTo>
                <a:lnTo>
                  <a:pt x="1662137" y="698146"/>
                </a:lnTo>
                <a:cubicBezTo>
                  <a:pt x="1700573" y="659709"/>
                  <a:pt x="1750950" y="640492"/>
                  <a:pt x="1801327" y="640492"/>
                </a:cubicBezTo>
                <a:close/>
                <a:moveTo>
                  <a:pt x="5415056" y="558428"/>
                </a:moveTo>
                <a:cubicBezTo>
                  <a:pt x="5465433" y="558427"/>
                  <a:pt x="5515810" y="577646"/>
                  <a:pt x="5554246" y="616082"/>
                </a:cubicBezTo>
                <a:cubicBezTo>
                  <a:pt x="5631119" y="692955"/>
                  <a:pt x="5631119" y="817590"/>
                  <a:pt x="5554246" y="894463"/>
                </a:cubicBezTo>
                <a:cubicBezTo>
                  <a:pt x="5367088" y="1081622"/>
                  <a:pt x="5179928" y="1268780"/>
                  <a:pt x="4992769" y="1455938"/>
                </a:cubicBezTo>
                <a:cubicBezTo>
                  <a:pt x="4915897" y="1532810"/>
                  <a:pt x="4791261" y="1532810"/>
                  <a:pt x="4714389" y="1455938"/>
                </a:cubicBezTo>
                <a:lnTo>
                  <a:pt x="4714390" y="1455938"/>
                </a:lnTo>
                <a:cubicBezTo>
                  <a:pt x="4637518" y="1379066"/>
                  <a:pt x="4637518" y="1254430"/>
                  <a:pt x="4714390" y="1177558"/>
                </a:cubicBezTo>
                <a:lnTo>
                  <a:pt x="5275865" y="616082"/>
                </a:lnTo>
                <a:cubicBezTo>
                  <a:pt x="5314302" y="577646"/>
                  <a:pt x="5364679" y="558427"/>
                  <a:pt x="5415056" y="558428"/>
                </a:cubicBezTo>
                <a:close/>
                <a:moveTo>
                  <a:pt x="3398221" y="362921"/>
                </a:moveTo>
                <a:cubicBezTo>
                  <a:pt x="3453269" y="367593"/>
                  <a:pt x="3510100" y="393263"/>
                  <a:pt x="3555664" y="438828"/>
                </a:cubicBezTo>
                <a:cubicBezTo>
                  <a:pt x="3646793" y="529956"/>
                  <a:pt x="3658350" y="666150"/>
                  <a:pt x="3581477" y="743022"/>
                </a:cubicBezTo>
                <a:lnTo>
                  <a:pt x="3194949" y="1129550"/>
                </a:lnTo>
                <a:lnTo>
                  <a:pt x="3230427" y="1136453"/>
                </a:lnTo>
                <a:cubicBezTo>
                  <a:pt x="3258517" y="1147844"/>
                  <a:pt x="3284838" y="1164931"/>
                  <a:pt x="3307620" y="1187714"/>
                </a:cubicBezTo>
                <a:cubicBezTo>
                  <a:pt x="3398750" y="1278843"/>
                  <a:pt x="3398750" y="1426591"/>
                  <a:pt x="3307620" y="1517720"/>
                </a:cubicBezTo>
                <a:lnTo>
                  <a:pt x="2433662" y="2391678"/>
                </a:lnTo>
                <a:lnTo>
                  <a:pt x="2422373" y="2437798"/>
                </a:lnTo>
                <a:cubicBezTo>
                  <a:pt x="2416968" y="2494262"/>
                  <a:pt x="2435885" y="2552616"/>
                  <a:pt x="2479126" y="2595856"/>
                </a:cubicBezTo>
                <a:lnTo>
                  <a:pt x="2479124" y="2595856"/>
                </a:lnTo>
                <a:cubicBezTo>
                  <a:pt x="2536778" y="2653510"/>
                  <a:pt x="2621300" y="2667924"/>
                  <a:pt x="2692389" y="2639097"/>
                </a:cubicBezTo>
                <a:lnTo>
                  <a:pt x="2747947" y="2602203"/>
                </a:lnTo>
                <a:lnTo>
                  <a:pt x="2720578" y="2643419"/>
                </a:lnTo>
                <a:lnTo>
                  <a:pt x="3001666" y="2362331"/>
                </a:lnTo>
                <a:cubicBezTo>
                  <a:pt x="3078539" y="2285458"/>
                  <a:pt x="3203175" y="2285458"/>
                  <a:pt x="3280047" y="2362331"/>
                </a:cubicBezTo>
                <a:cubicBezTo>
                  <a:pt x="3318483" y="2400767"/>
                  <a:pt x="3337702" y="2451144"/>
                  <a:pt x="3337702" y="2501521"/>
                </a:cubicBezTo>
                <a:lnTo>
                  <a:pt x="3323996" y="2571957"/>
                </a:lnTo>
                <a:lnTo>
                  <a:pt x="4157629" y="1738324"/>
                </a:lnTo>
                <a:cubicBezTo>
                  <a:pt x="4234501" y="1661451"/>
                  <a:pt x="4359137" y="1661451"/>
                  <a:pt x="4436009" y="1738324"/>
                </a:cubicBezTo>
                <a:cubicBezTo>
                  <a:pt x="4493664" y="1795978"/>
                  <a:pt x="4508077" y="1880500"/>
                  <a:pt x="4479250" y="1951587"/>
                </a:cubicBezTo>
                <a:lnTo>
                  <a:pt x="4448131" y="1998450"/>
                </a:lnTo>
                <a:lnTo>
                  <a:pt x="4674595" y="1771986"/>
                </a:lnTo>
                <a:cubicBezTo>
                  <a:pt x="4751467" y="1695114"/>
                  <a:pt x="4876103" y="1695114"/>
                  <a:pt x="4952976" y="1771986"/>
                </a:cubicBezTo>
                <a:cubicBezTo>
                  <a:pt x="5029848" y="1848859"/>
                  <a:pt x="5029848" y="1973495"/>
                  <a:pt x="4952976" y="2050367"/>
                </a:cubicBezTo>
                <a:lnTo>
                  <a:pt x="4469632" y="2533711"/>
                </a:lnTo>
                <a:lnTo>
                  <a:pt x="4435096" y="2603260"/>
                </a:lnTo>
                <a:cubicBezTo>
                  <a:pt x="4404831" y="2684584"/>
                  <a:pt x="4407903" y="2758783"/>
                  <a:pt x="4451144" y="2802024"/>
                </a:cubicBezTo>
                <a:lnTo>
                  <a:pt x="4451142" y="2802024"/>
                </a:lnTo>
                <a:cubicBezTo>
                  <a:pt x="4508796" y="2859678"/>
                  <a:pt x="4621488" y="2845922"/>
                  <a:pt x="4732722" y="2776949"/>
                </a:cubicBezTo>
                <a:lnTo>
                  <a:pt x="4786773" y="2733781"/>
                </a:lnTo>
                <a:lnTo>
                  <a:pt x="4852843" y="2667710"/>
                </a:lnTo>
                <a:cubicBezTo>
                  <a:pt x="4929716" y="2590838"/>
                  <a:pt x="5054352" y="2590838"/>
                  <a:pt x="5131224" y="2667710"/>
                </a:cubicBezTo>
                <a:cubicBezTo>
                  <a:pt x="5208097" y="2744583"/>
                  <a:pt x="5208097" y="2869219"/>
                  <a:pt x="5131224" y="2946091"/>
                </a:cubicBezTo>
                <a:cubicBezTo>
                  <a:pt x="4267397" y="3809918"/>
                  <a:pt x="3403568" y="4673745"/>
                  <a:pt x="2539741" y="5537573"/>
                </a:cubicBezTo>
                <a:cubicBezTo>
                  <a:pt x="2462869" y="5614445"/>
                  <a:pt x="2338233" y="5614445"/>
                  <a:pt x="2261360" y="5537573"/>
                </a:cubicBezTo>
                <a:lnTo>
                  <a:pt x="2261362" y="5537573"/>
                </a:lnTo>
                <a:cubicBezTo>
                  <a:pt x="2203707" y="5479918"/>
                  <a:pt x="2189294" y="5395397"/>
                  <a:pt x="2218121" y="5324309"/>
                </a:cubicBezTo>
                <a:lnTo>
                  <a:pt x="2224247" y="5315083"/>
                </a:lnTo>
                <a:lnTo>
                  <a:pt x="2218747" y="5319476"/>
                </a:lnTo>
                <a:lnTo>
                  <a:pt x="2234074" y="5300285"/>
                </a:lnTo>
                <a:lnTo>
                  <a:pt x="2261362" y="5259192"/>
                </a:lnTo>
                <a:lnTo>
                  <a:pt x="2280116" y="5240438"/>
                </a:lnTo>
                <a:lnTo>
                  <a:pt x="2318353" y="5163434"/>
                </a:lnTo>
                <a:cubicBezTo>
                  <a:pt x="2348617" y="5082111"/>
                  <a:pt x="2345545" y="5007912"/>
                  <a:pt x="2302304" y="4964671"/>
                </a:cubicBezTo>
                <a:cubicBezTo>
                  <a:pt x="2244650" y="4907017"/>
                  <a:pt x="2131959" y="4920773"/>
                  <a:pt x="2020726" y="4989746"/>
                </a:cubicBezTo>
                <a:lnTo>
                  <a:pt x="1985311" y="5018031"/>
                </a:lnTo>
                <a:lnTo>
                  <a:pt x="1972923" y="5030418"/>
                </a:lnTo>
                <a:lnTo>
                  <a:pt x="1954395" y="5042722"/>
                </a:lnTo>
                <a:lnTo>
                  <a:pt x="1941186" y="5053271"/>
                </a:lnTo>
                <a:lnTo>
                  <a:pt x="1944210" y="5049485"/>
                </a:lnTo>
                <a:lnTo>
                  <a:pt x="1907806" y="5073659"/>
                </a:lnTo>
                <a:cubicBezTo>
                  <a:pt x="1836718" y="5102486"/>
                  <a:pt x="1752197" y="5088073"/>
                  <a:pt x="1694543" y="5030418"/>
                </a:cubicBezTo>
                <a:lnTo>
                  <a:pt x="1694544" y="5030418"/>
                </a:lnTo>
                <a:cubicBezTo>
                  <a:pt x="1617672" y="4953546"/>
                  <a:pt x="1617672" y="4828909"/>
                  <a:pt x="1694544" y="4752037"/>
                </a:cubicBezTo>
                <a:lnTo>
                  <a:pt x="1735435" y="4711146"/>
                </a:lnTo>
                <a:lnTo>
                  <a:pt x="1688569" y="4742267"/>
                </a:lnTo>
                <a:cubicBezTo>
                  <a:pt x="1617481" y="4771094"/>
                  <a:pt x="1532959" y="4756681"/>
                  <a:pt x="1475305" y="4699026"/>
                </a:cubicBezTo>
                <a:lnTo>
                  <a:pt x="1475306" y="4699026"/>
                </a:lnTo>
                <a:cubicBezTo>
                  <a:pt x="1436870" y="4660590"/>
                  <a:pt x="1417652" y="4610213"/>
                  <a:pt x="1417652" y="4559836"/>
                </a:cubicBezTo>
                <a:lnTo>
                  <a:pt x="1431358" y="4489400"/>
                </a:lnTo>
                <a:lnTo>
                  <a:pt x="597725" y="5323034"/>
                </a:lnTo>
                <a:cubicBezTo>
                  <a:pt x="520852" y="5399906"/>
                  <a:pt x="396216" y="5399906"/>
                  <a:pt x="319344" y="5323034"/>
                </a:cubicBezTo>
                <a:lnTo>
                  <a:pt x="319345" y="5323034"/>
                </a:lnTo>
                <a:cubicBezTo>
                  <a:pt x="242473" y="5246162"/>
                  <a:pt x="242473" y="5121526"/>
                  <a:pt x="319345" y="5044653"/>
                </a:cubicBezTo>
                <a:lnTo>
                  <a:pt x="1316675" y="4047323"/>
                </a:lnTo>
                <a:lnTo>
                  <a:pt x="1304888" y="4055149"/>
                </a:lnTo>
                <a:lnTo>
                  <a:pt x="1334030" y="4011265"/>
                </a:lnTo>
                <a:cubicBezTo>
                  <a:pt x="1362855" y="3940177"/>
                  <a:pt x="1348442" y="3855656"/>
                  <a:pt x="1290788" y="3798001"/>
                </a:cubicBezTo>
                <a:cubicBezTo>
                  <a:pt x="1233134" y="3740348"/>
                  <a:pt x="1148613" y="3725934"/>
                  <a:pt x="1077526" y="3754761"/>
                </a:cubicBezTo>
                <a:lnTo>
                  <a:pt x="1056849" y="3768492"/>
                </a:lnTo>
                <a:lnTo>
                  <a:pt x="651781" y="4173559"/>
                </a:lnTo>
                <a:cubicBezTo>
                  <a:pt x="560652" y="4264688"/>
                  <a:pt x="412904" y="4264688"/>
                  <a:pt x="321774" y="4173559"/>
                </a:cubicBezTo>
                <a:cubicBezTo>
                  <a:pt x="230645" y="4082430"/>
                  <a:pt x="230645" y="3934681"/>
                  <a:pt x="321774" y="3843552"/>
                </a:cubicBezTo>
                <a:lnTo>
                  <a:pt x="804490" y="3360836"/>
                </a:lnTo>
                <a:lnTo>
                  <a:pt x="803151" y="3353366"/>
                </a:lnTo>
                <a:cubicBezTo>
                  <a:pt x="791825" y="3312023"/>
                  <a:pt x="768841" y="3271513"/>
                  <a:pt x="734668" y="3237340"/>
                </a:cubicBezTo>
                <a:cubicBezTo>
                  <a:pt x="711886" y="3214558"/>
                  <a:pt x="686287" y="3196749"/>
                  <a:pt x="659503" y="3184052"/>
                </a:cubicBezTo>
                <a:lnTo>
                  <a:pt x="639038" y="3178426"/>
                </a:lnTo>
                <a:lnTo>
                  <a:pt x="398354" y="3419110"/>
                </a:lnTo>
                <a:cubicBezTo>
                  <a:pt x="307225" y="3510239"/>
                  <a:pt x="159477" y="3510239"/>
                  <a:pt x="68348" y="3419110"/>
                </a:cubicBezTo>
                <a:cubicBezTo>
                  <a:pt x="-22782" y="3327981"/>
                  <a:pt x="-22782" y="3180232"/>
                  <a:pt x="68348" y="3089103"/>
                </a:cubicBezTo>
                <a:lnTo>
                  <a:pt x="2515555" y="641896"/>
                </a:lnTo>
                <a:cubicBezTo>
                  <a:pt x="2561119" y="596332"/>
                  <a:pt x="2620838" y="573550"/>
                  <a:pt x="2680558" y="573550"/>
                </a:cubicBezTo>
                <a:cubicBezTo>
                  <a:pt x="2740277" y="573550"/>
                  <a:pt x="2799997" y="596332"/>
                  <a:pt x="2845561" y="641896"/>
                </a:cubicBezTo>
                <a:cubicBezTo>
                  <a:pt x="2868344" y="664678"/>
                  <a:pt x="2885430" y="691000"/>
                  <a:pt x="2896821" y="719090"/>
                </a:cubicBezTo>
                <a:lnTo>
                  <a:pt x="2907926" y="756558"/>
                </a:lnTo>
                <a:lnTo>
                  <a:pt x="3251470" y="413014"/>
                </a:lnTo>
                <a:cubicBezTo>
                  <a:pt x="3289906" y="374578"/>
                  <a:pt x="3343172" y="358250"/>
                  <a:pt x="3398221" y="362921"/>
                </a:cubicBezTo>
                <a:close/>
                <a:moveTo>
                  <a:pt x="4755635" y="355359"/>
                </a:moveTo>
                <a:cubicBezTo>
                  <a:pt x="4806012" y="355359"/>
                  <a:pt x="4856389" y="374578"/>
                  <a:pt x="4894825" y="413014"/>
                </a:cubicBezTo>
                <a:cubicBezTo>
                  <a:pt x="4971698" y="489886"/>
                  <a:pt x="4971698" y="614522"/>
                  <a:pt x="4894825" y="691395"/>
                </a:cubicBezTo>
                <a:cubicBezTo>
                  <a:pt x="4487718" y="1098502"/>
                  <a:pt x="4080610" y="1505609"/>
                  <a:pt x="3673502" y="1912716"/>
                </a:cubicBezTo>
                <a:cubicBezTo>
                  <a:pt x="3596630" y="1989588"/>
                  <a:pt x="3471994" y="1989588"/>
                  <a:pt x="3395121" y="1912716"/>
                </a:cubicBezTo>
                <a:lnTo>
                  <a:pt x="3395123" y="1912716"/>
                </a:lnTo>
                <a:cubicBezTo>
                  <a:pt x="3318250" y="1835843"/>
                  <a:pt x="3318250" y="1711207"/>
                  <a:pt x="3395123" y="1634335"/>
                </a:cubicBezTo>
                <a:lnTo>
                  <a:pt x="4616445" y="413014"/>
                </a:lnTo>
                <a:cubicBezTo>
                  <a:pt x="4654881" y="374578"/>
                  <a:pt x="4705258" y="355359"/>
                  <a:pt x="4755635" y="355359"/>
                </a:cubicBezTo>
                <a:close/>
                <a:moveTo>
                  <a:pt x="3791507" y="9054"/>
                </a:moveTo>
                <a:cubicBezTo>
                  <a:pt x="3909926" y="9054"/>
                  <a:pt x="4005923" y="105051"/>
                  <a:pt x="4005923" y="223470"/>
                </a:cubicBezTo>
                <a:cubicBezTo>
                  <a:pt x="4005923" y="341889"/>
                  <a:pt x="3909926" y="437886"/>
                  <a:pt x="3791507" y="437886"/>
                </a:cubicBezTo>
                <a:cubicBezTo>
                  <a:pt x="3673088" y="437886"/>
                  <a:pt x="3577091" y="341889"/>
                  <a:pt x="3577091" y="223470"/>
                </a:cubicBezTo>
                <a:cubicBezTo>
                  <a:pt x="3577091" y="105051"/>
                  <a:pt x="3673088" y="9054"/>
                  <a:pt x="3791507" y="9054"/>
                </a:cubicBezTo>
                <a:close/>
                <a:moveTo>
                  <a:pt x="5117437" y="0"/>
                </a:moveTo>
                <a:cubicBezTo>
                  <a:pt x="5238356" y="0"/>
                  <a:pt x="5336380" y="98024"/>
                  <a:pt x="5336380" y="218943"/>
                </a:cubicBezTo>
                <a:cubicBezTo>
                  <a:pt x="5336380" y="339862"/>
                  <a:pt x="5238356" y="437886"/>
                  <a:pt x="5117437" y="437886"/>
                </a:cubicBezTo>
                <a:cubicBezTo>
                  <a:pt x="4996518" y="437886"/>
                  <a:pt x="4898494" y="339862"/>
                  <a:pt x="4898494" y="218943"/>
                </a:cubicBezTo>
                <a:cubicBezTo>
                  <a:pt x="4898494" y="98024"/>
                  <a:pt x="4996518" y="0"/>
                  <a:pt x="5117437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50800" sx="101000" sy="101000" algn="ct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E287B-EE53-9F44-85CE-CE9820084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6B9AC-8900-A349-8C43-DE8EB8ED2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668CB-A00E-DA4B-AC67-328AA6AD3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618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19D25E1-3C5D-2444-AC9C-E160DAC556A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28" y="0"/>
            <a:ext cx="6079787" cy="6858000"/>
          </a:xfrm>
          <a:custGeom>
            <a:avLst/>
            <a:gdLst>
              <a:gd name="connsiteX0" fmla="*/ 0 w 6079787"/>
              <a:gd name="connsiteY0" fmla="*/ 0 h 6858000"/>
              <a:gd name="connsiteX1" fmla="*/ 6079787 w 6079787"/>
              <a:gd name="connsiteY1" fmla="*/ 0 h 6858000"/>
              <a:gd name="connsiteX2" fmla="*/ 6079787 w 6079787"/>
              <a:gd name="connsiteY2" fmla="*/ 6858000 h 6858000"/>
              <a:gd name="connsiteX3" fmla="*/ 0 w 607978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79787" h="6858000">
                <a:moveTo>
                  <a:pt x="0" y="0"/>
                </a:moveTo>
                <a:lnTo>
                  <a:pt x="6079787" y="0"/>
                </a:lnTo>
                <a:lnTo>
                  <a:pt x="6079787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D93FBD-0408-B445-B45A-0FC9B026A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2FA89-3FA6-B941-B0D5-159A8B196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1667FB-003E-3743-9288-2248E2001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556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9CE00A-BF7F-D74D-90ED-0D5049C813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46151" y="4545529"/>
            <a:ext cx="2851233" cy="1832197"/>
          </a:xfrm>
          <a:custGeom>
            <a:avLst/>
            <a:gdLst>
              <a:gd name="connsiteX0" fmla="*/ 0 w 2851233"/>
              <a:gd name="connsiteY0" fmla="*/ 0 h 1832197"/>
              <a:gd name="connsiteX1" fmla="*/ 2851233 w 2851233"/>
              <a:gd name="connsiteY1" fmla="*/ 0 h 1832197"/>
              <a:gd name="connsiteX2" fmla="*/ 2851233 w 2851233"/>
              <a:gd name="connsiteY2" fmla="*/ 1832197 h 1832197"/>
              <a:gd name="connsiteX3" fmla="*/ 0 w 2851233"/>
              <a:gd name="connsiteY3" fmla="*/ 1832197 h 183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1233" h="1832197">
                <a:moveTo>
                  <a:pt x="0" y="0"/>
                </a:moveTo>
                <a:lnTo>
                  <a:pt x="2851233" y="0"/>
                </a:lnTo>
                <a:lnTo>
                  <a:pt x="2851233" y="1832197"/>
                </a:lnTo>
                <a:lnTo>
                  <a:pt x="0" y="183219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42DC6EA-E720-1348-B67E-AFA2822F9E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91918" y="315590"/>
            <a:ext cx="2851233" cy="1832197"/>
          </a:xfrm>
          <a:custGeom>
            <a:avLst/>
            <a:gdLst>
              <a:gd name="connsiteX0" fmla="*/ 0 w 2851233"/>
              <a:gd name="connsiteY0" fmla="*/ 0 h 1832197"/>
              <a:gd name="connsiteX1" fmla="*/ 2851233 w 2851233"/>
              <a:gd name="connsiteY1" fmla="*/ 0 h 1832197"/>
              <a:gd name="connsiteX2" fmla="*/ 2851233 w 2851233"/>
              <a:gd name="connsiteY2" fmla="*/ 1832197 h 1832197"/>
              <a:gd name="connsiteX3" fmla="*/ 0 w 2851233"/>
              <a:gd name="connsiteY3" fmla="*/ 1832197 h 183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1233" h="1832197">
                <a:moveTo>
                  <a:pt x="0" y="0"/>
                </a:moveTo>
                <a:lnTo>
                  <a:pt x="2851233" y="0"/>
                </a:lnTo>
                <a:lnTo>
                  <a:pt x="2851233" y="1832197"/>
                </a:lnTo>
                <a:lnTo>
                  <a:pt x="0" y="183219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929C334-8560-5D4E-8EF7-2EACCF1A58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71923" y="4527423"/>
            <a:ext cx="2851233" cy="1832197"/>
          </a:xfrm>
          <a:custGeom>
            <a:avLst/>
            <a:gdLst>
              <a:gd name="connsiteX0" fmla="*/ 0 w 2851233"/>
              <a:gd name="connsiteY0" fmla="*/ 0 h 1832197"/>
              <a:gd name="connsiteX1" fmla="*/ 2851233 w 2851233"/>
              <a:gd name="connsiteY1" fmla="*/ 0 h 1832197"/>
              <a:gd name="connsiteX2" fmla="*/ 2851233 w 2851233"/>
              <a:gd name="connsiteY2" fmla="*/ 1832197 h 1832197"/>
              <a:gd name="connsiteX3" fmla="*/ 0 w 2851233"/>
              <a:gd name="connsiteY3" fmla="*/ 1832197 h 183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1233" h="1832197">
                <a:moveTo>
                  <a:pt x="0" y="0"/>
                </a:moveTo>
                <a:lnTo>
                  <a:pt x="2851233" y="0"/>
                </a:lnTo>
                <a:lnTo>
                  <a:pt x="2851233" y="1832197"/>
                </a:lnTo>
                <a:lnTo>
                  <a:pt x="0" y="1832197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30A0A2-369D-594C-B70F-060FFACA7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8128B9-3693-444E-A50A-64D20729D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10B2C2-CFD3-104E-BB38-755FA47E6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500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BDFC818-3F78-3C4F-A24F-EAB96BAE36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46356" y="0"/>
            <a:ext cx="6845644" cy="6858000"/>
          </a:xfrm>
          <a:custGeom>
            <a:avLst/>
            <a:gdLst>
              <a:gd name="connsiteX0" fmla="*/ 3422822 w 6845644"/>
              <a:gd name="connsiteY0" fmla="*/ 0 h 6858000"/>
              <a:gd name="connsiteX1" fmla="*/ 6845644 w 6845644"/>
              <a:gd name="connsiteY1" fmla="*/ 0 h 6858000"/>
              <a:gd name="connsiteX2" fmla="*/ 6845644 w 6845644"/>
              <a:gd name="connsiteY2" fmla="*/ 3435178 h 6858000"/>
              <a:gd name="connsiteX3" fmla="*/ 3422822 w 6845644"/>
              <a:gd name="connsiteY3" fmla="*/ 6858000 h 6858000"/>
              <a:gd name="connsiteX4" fmla="*/ 1 w 6845644"/>
              <a:gd name="connsiteY4" fmla="*/ 6858000 h 6858000"/>
              <a:gd name="connsiteX5" fmla="*/ 0 w 6845644"/>
              <a:gd name="connsiteY5" fmla="*/ 3422822 h 6858000"/>
              <a:gd name="connsiteX6" fmla="*/ 3422822 w 6845644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5644" h="6858000">
                <a:moveTo>
                  <a:pt x="3422822" y="0"/>
                </a:moveTo>
                <a:lnTo>
                  <a:pt x="6845644" y="0"/>
                </a:lnTo>
                <a:lnTo>
                  <a:pt x="6845644" y="3435178"/>
                </a:lnTo>
                <a:cubicBezTo>
                  <a:pt x="6845644" y="5325550"/>
                  <a:pt x="5313194" y="6858000"/>
                  <a:pt x="3422822" y="6858000"/>
                </a:cubicBezTo>
                <a:lnTo>
                  <a:pt x="1" y="6858000"/>
                </a:lnTo>
                <a:lnTo>
                  <a:pt x="0" y="3422822"/>
                </a:lnTo>
                <a:cubicBezTo>
                  <a:pt x="0" y="1532450"/>
                  <a:pt x="1532450" y="0"/>
                  <a:pt x="3422822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13500000" algn="b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9BA925-6ADC-894A-86F3-24EF19F8F5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C05611-CF29-3E47-8FEF-67CF95DE7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7335AE-99DE-214D-A70E-CA9EC5AAC7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150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84D0811-CF29-F449-8DDF-7228187C44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3870"/>
            <a:ext cx="6858000" cy="6861870"/>
          </a:xfrm>
          <a:custGeom>
            <a:avLst/>
            <a:gdLst>
              <a:gd name="connsiteX0" fmla="*/ 0 w 6858000"/>
              <a:gd name="connsiteY0" fmla="*/ 0 h 6861870"/>
              <a:gd name="connsiteX1" fmla="*/ 3429000 w 6858000"/>
              <a:gd name="connsiteY1" fmla="*/ 0 h 6861870"/>
              <a:gd name="connsiteX2" fmla="*/ 6858000 w 6858000"/>
              <a:gd name="connsiteY2" fmla="*/ 3429000 h 6861870"/>
              <a:gd name="connsiteX3" fmla="*/ 6858000 w 6858000"/>
              <a:gd name="connsiteY3" fmla="*/ 6861870 h 6861870"/>
              <a:gd name="connsiteX4" fmla="*/ 3429000 w 6858000"/>
              <a:gd name="connsiteY4" fmla="*/ 6861870 h 6861870"/>
              <a:gd name="connsiteX5" fmla="*/ 0 w 6858000"/>
              <a:gd name="connsiteY5" fmla="*/ 3432870 h 686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6861870">
                <a:moveTo>
                  <a:pt x="0" y="0"/>
                </a:moveTo>
                <a:lnTo>
                  <a:pt x="3429000" y="0"/>
                </a:lnTo>
                <a:cubicBezTo>
                  <a:pt x="5322784" y="0"/>
                  <a:pt x="6858000" y="1535216"/>
                  <a:pt x="6858000" y="3429000"/>
                </a:cubicBezTo>
                <a:lnTo>
                  <a:pt x="6858000" y="6861870"/>
                </a:lnTo>
                <a:lnTo>
                  <a:pt x="3429000" y="6861870"/>
                </a:lnTo>
                <a:cubicBezTo>
                  <a:pt x="1535216" y="6861870"/>
                  <a:pt x="0" y="5326654"/>
                  <a:pt x="0" y="343287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18900000" algn="b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F38792-54CA-1C48-9DE9-C36A61C73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7D60C9-E00C-5D41-909C-589BC5B42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A19F2-BA87-924A-BF72-EB1A65806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832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3628219-72B5-7B40-8676-5BEDA2A82A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845644" cy="6858000"/>
          </a:xfrm>
          <a:custGeom>
            <a:avLst/>
            <a:gdLst>
              <a:gd name="connsiteX0" fmla="*/ 3422822 w 6845644"/>
              <a:gd name="connsiteY0" fmla="*/ 0 h 6858000"/>
              <a:gd name="connsiteX1" fmla="*/ 6845643 w 6845644"/>
              <a:gd name="connsiteY1" fmla="*/ 0 h 6858000"/>
              <a:gd name="connsiteX2" fmla="*/ 6845644 w 6845644"/>
              <a:gd name="connsiteY2" fmla="*/ 3435178 h 6858000"/>
              <a:gd name="connsiteX3" fmla="*/ 3422822 w 6845644"/>
              <a:gd name="connsiteY3" fmla="*/ 6858000 h 6858000"/>
              <a:gd name="connsiteX4" fmla="*/ 0 w 6845644"/>
              <a:gd name="connsiteY4" fmla="*/ 6858000 h 6858000"/>
              <a:gd name="connsiteX5" fmla="*/ 0 w 6845644"/>
              <a:gd name="connsiteY5" fmla="*/ 3422822 h 6858000"/>
              <a:gd name="connsiteX6" fmla="*/ 3422822 w 6845644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45644" h="6858000">
                <a:moveTo>
                  <a:pt x="3422822" y="0"/>
                </a:moveTo>
                <a:lnTo>
                  <a:pt x="6845643" y="0"/>
                </a:lnTo>
                <a:lnTo>
                  <a:pt x="6845644" y="3435178"/>
                </a:lnTo>
                <a:cubicBezTo>
                  <a:pt x="6845644" y="5325550"/>
                  <a:pt x="5313194" y="6858000"/>
                  <a:pt x="3422822" y="6858000"/>
                </a:cubicBezTo>
                <a:lnTo>
                  <a:pt x="0" y="6858000"/>
                </a:lnTo>
                <a:lnTo>
                  <a:pt x="0" y="3422822"/>
                </a:lnTo>
                <a:cubicBezTo>
                  <a:pt x="0" y="1532450"/>
                  <a:pt x="1532450" y="0"/>
                  <a:pt x="3422822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2700000" algn="tl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593654-421F-EC46-8A55-3162065E6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08AE85-73C5-9949-9C44-0497AFEF7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D70F00-6428-B64F-B67D-CC0DA0FEB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4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76B8D2-80BF-BF4B-8B7D-B4AE8D164B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61868"/>
          </a:xfrm>
          <a:custGeom>
            <a:avLst/>
            <a:gdLst>
              <a:gd name="connsiteX0" fmla="*/ 0 w 6858000"/>
              <a:gd name="connsiteY0" fmla="*/ 0 h 6861868"/>
              <a:gd name="connsiteX1" fmla="*/ 3429000 w 6858000"/>
              <a:gd name="connsiteY1" fmla="*/ 0 h 6861868"/>
              <a:gd name="connsiteX2" fmla="*/ 6858000 w 6858000"/>
              <a:gd name="connsiteY2" fmla="*/ 3429000 h 6861868"/>
              <a:gd name="connsiteX3" fmla="*/ 6858000 w 6858000"/>
              <a:gd name="connsiteY3" fmla="*/ 6861868 h 6861868"/>
              <a:gd name="connsiteX4" fmla="*/ 3429000 w 6858000"/>
              <a:gd name="connsiteY4" fmla="*/ 6861868 h 6861868"/>
              <a:gd name="connsiteX5" fmla="*/ 0 w 6858000"/>
              <a:gd name="connsiteY5" fmla="*/ 3432868 h 6861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6861868">
                <a:moveTo>
                  <a:pt x="0" y="0"/>
                </a:moveTo>
                <a:lnTo>
                  <a:pt x="3429000" y="0"/>
                </a:lnTo>
                <a:cubicBezTo>
                  <a:pt x="5322784" y="0"/>
                  <a:pt x="6858000" y="1535216"/>
                  <a:pt x="6858000" y="3429000"/>
                </a:cubicBezTo>
                <a:lnTo>
                  <a:pt x="6858000" y="6861868"/>
                </a:lnTo>
                <a:lnTo>
                  <a:pt x="3429000" y="6861868"/>
                </a:lnTo>
                <a:cubicBezTo>
                  <a:pt x="1535216" y="6861868"/>
                  <a:pt x="0" y="5326652"/>
                  <a:pt x="0" y="3432868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>
            <a:outerShdw blurRad="38100" dist="25400" dir="8100000" algn="t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EAEDF4-3087-8141-990A-196C98D27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25BBA2-F428-6645-9BE4-7E09D8806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32AC4D-CA44-0C4D-AA1A-A0ECF2A86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048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798C545-0368-B84E-80FF-4B0FC52B36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46289" y="1313233"/>
            <a:ext cx="5945712" cy="5554494"/>
          </a:xfrm>
          <a:custGeom>
            <a:avLst/>
            <a:gdLst>
              <a:gd name="connsiteX0" fmla="*/ 4679305 w 5945712"/>
              <a:gd name="connsiteY0" fmla="*/ 3497704 h 5554494"/>
              <a:gd name="connsiteX1" fmla="*/ 5945710 w 5945712"/>
              <a:gd name="connsiteY1" fmla="*/ 4372594 h 5554494"/>
              <a:gd name="connsiteX2" fmla="*/ 5945710 w 5945712"/>
              <a:gd name="connsiteY2" fmla="*/ 5330339 h 5554494"/>
              <a:gd name="connsiteX3" fmla="*/ 5943532 w 5945712"/>
              <a:gd name="connsiteY3" fmla="*/ 5335377 h 5554494"/>
              <a:gd name="connsiteX4" fmla="*/ 5943532 w 5945712"/>
              <a:gd name="connsiteY4" fmla="*/ 5554494 h 5554494"/>
              <a:gd name="connsiteX5" fmla="*/ 5836236 w 5945712"/>
              <a:gd name="connsiteY5" fmla="*/ 5554494 h 5554494"/>
              <a:gd name="connsiteX6" fmla="*/ 5066978 w 5945712"/>
              <a:gd name="connsiteY6" fmla="*/ 5554494 h 5554494"/>
              <a:gd name="connsiteX7" fmla="*/ 3522375 w 5945712"/>
              <a:gd name="connsiteY7" fmla="*/ 5554494 h 5554494"/>
              <a:gd name="connsiteX8" fmla="*/ 3325763 w 5945712"/>
              <a:gd name="connsiteY8" fmla="*/ 4851466 h 5554494"/>
              <a:gd name="connsiteX9" fmla="*/ 4679305 w 5945712"/>
              <a:gd name="connsiteY9" fmla="*/ 3497704 h 5554494"/>
              <a:gd name="connsiteX10" fmla="*/ 4227642 w 5945712"/>
              <a:gd name="connsiteY10" fmla="*/ 1879579 h 5554494"/>
              <a:gd name="connsiteX11" fmla="*/ 5945711 w 5945712"/>
              <a:gd name="connsiteY11" fmla="*/ 2653374 h 5554494"/>
              <a:gd name="connsiteX12" fmla="*/ 5945711 w 5945712"/>
              <a:gd name="connsiteY12" fmla="*/ 2956489 h 5554494"/>
              <a:gd name="connsiteX13" fmla="*/ 5168731 w 5945712"/>
              <a:gd name="connsiteY13" fmla="*/ 2820822 h 5554494"/>
              <a:gd name="connsiteX14" fmla="*/ 2846505 w 5945712"/>
              <a:gd name="connsiteY14" fmla="*/ 5185550 h 5554494"/>
              <a:gd name="connsiteX15" fmla="*/ 2874680 w 5945712"/>
              <a:gd name="connsiteY15" fmla="*/ 5554494 h 5554494"/>
              <a:gd name="connsiteX16" fmla="*/ 2294196 w 5945712"/>
              <a:gd name="connsiteY16" fmla="*/ 5554494 h 5554494"/>
              <a:gd name="connsiteX17" fmla="*/ 1905415 w 5945712"/>
              <a:gd name="connsiteY17" fmla="*/ 4244307 h 5554494"/>
              <a:gd name="connsiteX18" fmla="*/ 4227642 w 5945712"/>
              <a:gd name="connsiteY18" fmla="*/ 1879579 h 5554494"/>
              <a:gd name="connsiteX19" fmla="*/ 3205224 w 5945712"/>
              <a:gd name="connsiteY19" fmla="*/ 0 h 5554494"/>
              <a:gd name="connsiteX20" fmla="*/ 5945712 w 5945712"/>
              <a:gd name="connsiteY20" fmla="*/ 1589887 h 5554494"/>
              <a:gd name="connsiteX21" fmla="*/ 5945712 w 5945712"/>
              <a:gd name="connsiteY21" fmla="*/ 1687236 h 5554494"/>
              <a:gd name="connsiteX22" fmla="*/ 4576194 w 5945712"/>
              <a:gd name="connsiteY22" fmla="*/ 1371193 h 5554494"/>
              <a:gd name="connsiteX23" fmla="*/ 1370970 w 5945712"/>
              <a:gd name="connsiteY23" fmla="*/ 4675710 h 5554494"/>
              <a:gd name="connsiteX24" fmla="*/ 1485557 w 5945712"/>
              <a:gd name="connsiteY24" fmla="*/ 5554494 h 5554494"/>
              <a:gd name="connsiteX25" fmla="*/ 857815 w 5945712"/>
              <a:gd name="connsiteY25" fmla="*/ 5554494 h 5554494"/>
              <a:gd name="connsiteX26" fmla="*/ 0 w 5945712"/>
              <a:gd name="connsiteY26" fmla="*/ 3304517 h 5554494"/>
              <a:gd name="connsiteX27" fmla="*/ 3205224 w 5945712"/>
              <a:gd name="connsiteY27" fmla="*/ 0 h 555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945712" h="5554494">
                <a:moveTo>
                  <a:pt x="4679305" y="3497704"/>
                </a:moveTo>
                <a:cubicBezTo>
                  <a:pt x="5258250" y="3497704"/>
                  <a:pt x="5752322" y="3861273"/>
                  <a:pt x="5945710" y="4372594"/>
                </a:cubicBezTo>
                <a:lnTo>
                  <a:pt x="5945710" y="5330339"/>
                </a:lnTo>
                <a:lnTo>
                  <a:pt x="5943532" y="5335377"/>
                </a:lnTo>
                <a:lnTo>
                  <a:pt x="5943532" y="5554494"/>
                </a:lnTo>
                <a:lnTo>
                  <a:pt x="5836236" y="5554494"/>
                </a:lnTo>
                <a:lnTo>
                  <a:pt x="5066978" y="5554494"/>
                </a:lnTo>
                <a:lnTo>
                  <a:pt x="3522375" y="5554494"/>
                </a:lnTo>
                <a:cubicBezTo>
                  <a:pt x="3393405" y="5342712"/>
                  <a:pt x="3325370" y="5099440"/>
                  <a:pt x="3325763" y="4851466"/>
                </a:cubicBezTo>
                <a:cubicBezTo>
                  <a:pt x="3325763" y="4103817"/>
                  <a:pt x="3931778" y="3497704"/>
                  <a:pt x="4679305" y="3497704"/>
                </a:cubicBezTo>
                <a:close/>
                <a:moveTo>
                  <a:pt x="4227642" y="1879579"/>
                </a:moveTo>
                <a:cubicBezTo>
                  <a:pt x="4908538" y="1879579"/>
                  <a:pt x="5520943" y="2177988"/>
                  <a:pt x="5945711" y="2653374"/>
                </a:cubicBezTo>
                <a:lnTo>
                  <a:pt x="5945711" y="2956489"/>
                </a:lnTo>
                <a:cubicBezTo>
                  <a:pt x="5696559" y="2866485"/>
                  <a:pt x="5433636" y="2820577"/>
                  <a:pt x="5168731" y="2820822"/>
                </a:cubicBezTo>
                <a:cubicBezTo>
                  <a:pt x="3886352" y="2820822"/>
                  <a:pt x="2846505" y="3879546"/>
                  <a:pt x="2846505" y="5185550"/>
                </a:cubicBezTo>
                <a:cubicBezTo>
                  <a:pt x="2846483" y="5309070"/>
                  <a:pt x="2855902" y="5432411"/>
                  <a:pt x="2874680" y="5554494"/>
                </a:cubicBezTo>
                <a:lnTo>
                  <a:pt x="2294196" y="5554494"/>
                </a:lnTo>
                <a:cubicBezTo>
                  <a:pt x="2048583" y="5179450"/>
                  <a:pt x="1905415" y="4728902"/>
                  <a:pt x="1905415" y="4244307"/>
                </a:cubicBezTo>
                <a:cubicBezTo>
                  <a:pt x="1905415" y="2938303"/>
                  <a:pt x="2945261" y="1879579"/>
                  <a:pt x="4227642" y="1879579"/>
                </a:cubicBezTo>
                <a:close/>
                <a:moveTo>
                  <a:pt x="3205224" y="0"/>
                </a:moveTo>
                <a:cubicBezTo>
                  <a:pt x="4366424" y="0"/>
                  <a:pt x="5383411" y="636675"/>
                  <a:pt x="5945712" y="1589887"/>
                </a:cubicBezTo>
                <a:lnTo>
                  <a:pt x="5945712" y="1687236"/>
                </a:lnTo>
                <a:cubicBezTo>
                  <a:pt x="5519261" y="1478856"/>
                  <a:pt x="5050819" y="1370753"/>
                  <a:pt x="4576194" y="1371193"/>
                </a:cubicBezTo>
                <a:cubicBezTo>
                  <a:pt x="2805986" y="1371193"/>
                  <a:pt x="1370970" y="2850687"/>
                  <a:pt x="1370970" y="4675710"/>
                </a:cubicBezTo>
                <a:cubicBezTo>
                  <a:pt x="1370714" y="4972381"/>
                  <a:pt x="1409236" y="5267812"/>
                  <a:pt x="1485557" y="5554494"/>
                </a:cubicBezTo>
                <a:lnTo>
                  <a:pt x="857815" y="5554494"/>
                </a:lnTo>
                <a:cubicBezTo>
                  <a:pt x="325577" y="4964562"/>
                  <a:pt x="0" y="4173743"/>
                  <a:pt x="0" y="3304517"/>
                </a:cubicBezTo>
                <a:cubicBezTo>
                  <a:pt x="0" y="1479494"/>
                  <a:pt x="1435017" y="0"/>
                  <a:pt x="3205224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204499-C8D9-FF48-A3D7-B10A995E0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B21CE-605B-B84E-B8D5-B40294252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D9A41-D90E-224C-B23F-8B037B96C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067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37AF38-8476-564C-9FD7-B237493A5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6B97BA-9B38-DF4E-9F2E-D71BB9330C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D6230-D79B-2E4A-A40B-4BB14E6E21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0C4EFF-7BB9-A045-B777-5D40845EB54B}" type="datetimeFigureOut">
              <a:rPr lang="en-US" smtClean="0"/>
              <a:t>4/3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19C96-A6AB-DA47-8C89-B5D3DBFF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11A40B-C4AA-764F-9E2F-5AF1D481B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03972" y="6476563"/>
            <a:ext cx="4868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BA69586-E6B3-B646-96E5-E7A8350A3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598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88" r:id="rId2"/>
    <p:sldLayoutId id="2147483689" r:id="rId3"/>
    <p:sldLayoutId id="2147483686" r:id="rId4"/>
    <p:sldLayoutId id="2147483685" r:id="rId5"/>
    <p:sldLayoutId id="2147483684" r:id="rId6"/>
    <p:sldLayoutId id="2147483683" r:id="rId7"/>
    <p:sldLayoutId id="2147483682" r:id="rId8"/>
    <p:sldLayoutId id="2147483681" r:id="rId9"/>
    <p:sldLayoutId id="2147483680" r:id="rId10"/>
    <p:sldLayoutId id="2147483679" r:id="rId11"/>
    <p:sldLayoutId id="2147483678" r:id="rId12"/>
    <p:sldLayoutId id="2147483677" r:id="rId13"/>
    <p:sldLayoutId id="2147483676" r:id="rId14"/>
    <p:sldLayoutId id="2147483675" r:id="rId15"/>
    <p:sldLayoutId id="2147483674" r:id="rId16"/>
    <p:sldLayoutId id="2147483671" r:id="rId17"/>
    <p:sldLayoutId id="2147483670" r:id="rId18"/>
    <p:sldLayoutId id="2147483669" r:id="rId19"/>
    <p:sldLayoutId id="2147483668" r:id="rId20"/>
    <p:sldLayoutId id="2147483666" r:id="rId21"/>
    <p:sldLayoutId id="2147483665" r:id="rId22"/>
    <p:sldLayoutId id="2147483664" r:id="rId23"/>
    <p:sldLayoutId id="2147483662" r:id="rId24"/>
    <p:sldLayoutId id="2147483661" r:id="rId25"/>
    <p:sldLayoutId id="2147483660" r:id="rId26"/>
    <p:sldLayoutId id="2147483659" r:id="rId27"/>
    <p:sldLayoutId id="2147483658" r:id="rId28"/>
    <p:sldLayoutId id="2147483656" r:id="rId29"/>
    <p:sldLayoutId id="2147483663" r:id="rId30"/>
    <p:sldLayoutId id="2147483667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3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chart" Target="../charts/chart2.xml"/><Relationship Id="rId7" Type="http://schemas.openxmlformats.org/officeDocument/2006/relationships/image" Target="../media/image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1.png"/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12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0.png"/><Relationship Id="rId5" Type="http://schemas.openxmlformats.org/officeDocument/2006/relationships/tags" Target="../tags/tag20.xml"/><Relationship Id="rId10" Type="http://schemas.openxmlformats.org/officeDocument/2006/relationships/image" Target="../media/image9.png"/><Relationship Id="rId4" Type="http://schemas.openxmlformats.org/officeDocument/2006/relationships/tags" Target="../tags/tag19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8DED13-03CE-8F43-8EC0-D03E7602A598}"/>
              </a:ext>
            </a:extLst>
          </p:cNvPr>
          <p:cNvSpPr txBox="1"/>
          <p:nvPr/>
        </p:nvSpPr>
        <p:spPr>
          <a:xfrm>
            <a:off x="6096000" y="2671758"/>
            <a:ext cx="5841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Sentalyzer</a:t>
            </a:r>
            <a:r>
              <a:rPr lang="en-US" sz="60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Calibri" panose="020F0502020204030204" pitchFamily="34" charset="0"/>
                <a:cs typeface="Calibri" panose="020F0502020204030204" pitchFamily="34" charset="0"/>
              </a:rPr>
              <a:t> 360</a:t>
            </a:r>
            <a:endParaRPr lang="en-US" sz="60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61409F5-5620-2340-8017-94C96E5E8240}"/>
              </a:ext>
            </a:extLst>
          </p:cNvPr>
          <p:cNvGrpSpPr/>
          <p:nvPr/>
        </p:nvGrpSpPr>
        <p:grpSpPr>
          <a:xfrm>
            <a:off x="5574556" y="2947485"/>
            <a:ext cx="506185" cy="491297"/>
            <a:chOff x="9650186" y="669471"/>
            <a:chExt cx="1110342" cy="1077685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AC1B684A-AC31-E74F-8273-EC58CC892327}"/>
                </a:ext>
              </a:extLst>
            </p:cNvPr>
            <p:cNvSpPr/>
            <p:nvPr/>
          </p:nvSpPr>
          <p:spPr>
            <a:xfrm>
              <a:off x="9650186" y="669471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8FC107DE-A69C-6749-98FC-0139B7DE03BC}"/>
                </a:ext>
              </a:extLst>
            </p:cNvPr>
            <p:cNvSpPr/>
            <p:nvPr/>
          </p:nvSpPr>
          <p:spPr>
            <a:xfrm>
              <a:off x="10058400" y="669471"/>
              <a:ext cx="293914" cy="293914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DDE9F162-45EC-BA40-9DED-3622317BB9A2}"/>
                </a:ext>
              </a:extLst>
            </p:cNvPr>
            <p:cNvSpPr/>
            <p:nvPr/>
          </p:nvSpPr>
          <p:spPr>
            <a:xfrm>
              <a:off x="10466614" y="669471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4B777F26-A844-A746-BA1B-2CBC7AB262F8}"/>
                </a:ext>
              </a:extLst>
            </p:cNvPr>
            <p:cNvSpPr/>
            <p:nvPr/>
          </p:nvSpPr>
          <p:spPr>
            <a:xfrm>
              <a:off x="9650186" y="1061357"/>
              <a:ext cx="293914" cy="293914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61CE70B8-62B0-F94D-862B-0C083AB1D67B}"/>
                </a:ext>
              </a:extLst>
            </p:cNvPr>
            <p:cNvSpPr/>
            <p:nvPr/>
          </p:nvSpPr>
          <p:spPr>
            <a:xfrm>
              <a:off x="10058400" y="1061357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41968F8F-6C66-E244-A5FD-DCE4AD191A22}"/>
                </a:ext>
              </a:extLst>
            </p:cNvPr>
            <p:cNvSpPr/>
            <p:nvPr/>
          </p:nvSpPr>
          <p:spPr>
            <a:xfrm>
              <a:off x="10466614" y="1061357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26F6238D-4826-5149-8D07-E284DCB8AB2D}"/>
                </a:ext>
              </a:extLst>
            </p:cNvPr>
            <p:cNvSpPr/>
            <p:nvPr/>
          </p:nvSpPr>
          <p:spPr>
            <a:xfrm>
              <a:off x="9650186" y="1453242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320AC38D-37C8-E043-8EB9-CB00BF4E7306}"/>
                </a:ext>
              </a:extLst>
            </p:cNvPr>
            <p:cNvSpPr/>
            <p:nvPr/>
          </p:nvSpPr>
          <p:spPr>
            <a:xfrm>
              <a:off x="10058400" y="1453242"/>
              <a:ext cx="293914" cy="29391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3710F5FC-7B74-334E-868C-A5B6C3074059}"/>
                </a:ext>
              </a:extLst>
            </p:cNvPr>
            <p:cNvSpPr/>
            <p:nvPr/>
          </p:nvSpPr>
          <p:spPr>
            <a:xfrm>
              <a:off x="10466614" y="1453242"/>
              <a:ext cx="293914" cy="29391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5D5BC4CA-5A72-C045-B03E-0D02EF816E09}"/>
              </a:ext>
            </a:extLst>
          </p:cNvPr>
          <p:cNvSpPr/>
          <p:nvPr/>
        </p:nvSpPr>
        <p:spPr>
          <a:xfrm>
            <a:off x="760013" y="1016825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D9BED1FB-8CFB-3D46-B17D-05582B369FD7}"/>
              </a:ext>
            </a:extLst>
          </p:cNvPr>
          <p:cNvSpPr/>
          <p:nvPr/>
        </p:nvSpPr>
        <p:spPr>
          <a:xfrm>
            <a:off x="2449225" y="1016825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AFD2FEA-13CF-394D-A77D-4C88CA850F28}"/>
              </a:ext>
            </a:extLst>
          </p:cNvPr>
          <p:cNvSpPr/>
          <p:nvPr/>
        </p:nvSpPr>
        <p:spPr>
          <a:xfrm>
            <a:off x="4138437" y="1016825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6409165-45C8-6947-BB10-5A9BA99E263D}"/>
              </a:ext>
            </a:extLst>
          </p:cNvPr>
          <p:cNvSpPr/>
          <p:nvPr/>
        </p:nvSpPr>
        <p:spPr>
          <a:xfrm>
            <a:off x="760013" y="2638470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A4046F1A-8DF6-F74A-BE18-CF15ADDD1651}"/>
              </a:ext>
            </a:extLst>
          </p:cNvPr>
          <p:cNvSpPr/>
          <p:nvPr/>
        </p:nvSpPr>
        <p:spPr>
          <a:xfrm>
            <a:off x="2449225" y="2638470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83F4EFCB-DF4D-3E4C-A067-CA9F809CD62E}"/>
              </a:ext>
            </a:extLst>
          </p:cNvPr>
          <p:cNvSpPr/>
          <p:nvPr/>
        </p:nvSpPr>
        <p:spPr>
          <a:xfrm>
            <a:off x="4138437" y="2638470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4F02F29B-BC68-CF4A-BFD6-C00B953A2F82}"/>
              </a:ext>
            </a:extLst>
          </p:cNvPr>
          <p:cNvSpPr/>
          <p:nvPr/>
        </p:nvSpPr>
        <p:spPr>
          <a:xfrm>
            <a:off x="760013" y="4260111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21C08EE-E97F-BD43-B66C-61F4990CB86E}"/>
              </a:ext>
            </a:extLst>
          </p:cNvPr>
          <p:cNvSpPr/>
          <p:nvPr/>
        </p:nvSpPr>
        <p:spPr>
          <a:xfrm>
            <a:off x="2449225" y="4260111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E6128934-88C5-9F4B-A15F-543166431E27}"/>
              </a:ext>
            </a:extLst>
          </p:cNvPr>
          <p:cNvSpPr/>
          <p:nvPr/>
        </p:nvSpPr>
        <p:spPr>
          <a:xfrm>
            <a:off x="4138437" y="4260111"/>
            <a:ext cx="1216232" cy="1216232"/>
          </a:xfrm>
          <a:prstGeom prst="roundRect">
            <a:avLst/>
          </a:prstGeom>
          <a:noFill/>
          <a:ln w="25400">
            <a:solidFill>
              <a:schemeClr val="accent3">
                <a:alpha val="1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E529AEA8-1F52-234E-86B9-90AEF543A13F}"/>
              </a:ext>
            </a:extLst>
          </p:cNvPr>
          <p:cNvSpPr/>
          <p:nvPr/>
        </p:nvSpPr>
        <p:spPr>
          <a:xfrm>
            <a:off x="5574556" y="3629459"/>
            <a:ext cx="6363443" cy="439975"/>
          </a:xfrm>
          <a:prstGeom prst="roundRect">
            <a:avLst>
              <a:gd name="adj" fmla="val 8485"/>
            </a:avLst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bg2"/>
                </a:solidFill>
                <a:latin typeface="+mj-lt"/>
              </a:rPr>
              <a:t>An Intelligent Customer Support and Feedback System With Sentimental Analysis</a:t>
            </a:r>
            <a:endParaRPr lang="en-US" sz="160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4596781-1E98-464D-846F-EB80F4E2C7C6}"/>
              </a:ext>
            </a:extLst>
          </p:cNvPr>
          <p:cNvGrpSpPr/>
          <p:nvPr/>
        </p:nvGrpSpPr>
        <p:grpSpPr>
          <a:xfrm>
            <a:off x="1116129" y="1364259"/>
            <a:ext cx="504000" cy="521364"/>
            <a:chOff x="8696090" y="4786627"/>
            <a:chExt cx="504000" cy="521364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7055926D-FDA6-4639-97DE-F886609C9621}"/>
                </a:ext>
              </a:extLst>
            </p:cNvPr>
            <p:cNvSpPr/>
            <p:nvPr/>
          </p:nvSpPr>
          <p:spPr>
            <a:xfrm>
              <a:off x="8696090" y="4803991"/>
              <a:ext cx="504000" cy="504000"/>
            </a:xfrm>
            <a:prstGeom prst="ellipse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D774AFB-D309-409E-951A-0F8282223A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17654" y="4948627"/>
              <a:ext cx="72000" cy="72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9692D82-6190-4C98-BD95-9A9799BBFB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08872" y="4948627"/>
              <a:ext cx="72000" cy="72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9E4F6227-FF71-4806-B191-421EF537D464}"/>
                </a:ext>
              </a:extLst>
            </p:cNvPr>
            <p:cNvSpPr>
              <a:spLocks noChangeAspect="1"/>
            </p:cNvSpPr>
            <p:nvPr/>
          </p:nvSpPr>
          <p:spPr>
            <a:xfrm rot="8100783">
              <a:off x="8750090" y="4786627"/>
              <a:ext cx="396000" cy="396000"/>
            </a:xfrm>
            <a:prstGeom prst="arc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E3E0CF5-94A1-4594-95A7-F87C4050B0D8}"/>
              </a:ext>
            </a:extLst>
          </p:cNvPr>
          <p:cNvGrpSpPr/>
          <p:nvPr/>
        </p:nvGrpSpPr>
        <p:grpSpPr>
          <a:xfrm>
            <a:off x="2805341" y="1364259"/>
            <a:ext cx="504000" cy="713916"/>
            <a:chOff x="8696090" y="4803991"/>
            <a:chExt cx="504000" cy="713916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8C975EF-BF23-4580-87A2-594E524856A9}"/>
                </a:ext>
              </a:extLst>
            </p:cNvPr>
            <p:cNvSpPr/>
            <p:nvPr/>
          </p:nvSpPr>
          <p:spPr>
            <a:xfrm>
              <a:off x="8696090" y="4803991"/>
              <a:ext cx="504000" cy="504000"/>
            </a:xfrm>
            <a:prstGeom prst="ellipse">
              <a:avLst/>
            </a:prstGeom>
            <a:noFill/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9C62695-7FD1-4738-B4E7-9A46A7CEA6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17654" y="4948627"/>
              <a:ext cx="72000" cy="72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2D9DEC3F-43EE-4148-A520-063FD7ABAE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08872" y="4948627"/>
              <a:ext cx="72000" cy="72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BD16790-AB28-41D8-9EEC-372BDC415395}"/>
                </a:ext>
              </a:extLst>
            </p:cNvPr>
            <p:cNvSpPr>
              <a:spLocks noChangeAspect="1"/>
            </p:cNvSpPr>
            <p:nvPr/>
          </p:nvSpPr>
          <p:spPr>
            <a:xfrm rot="18900783">
              <a:off x="8750090" y="5121907"/>
              <a:ext cx="396000" cy="396000"/>
            </a:xfrm>
            <a:prstGeom prst="arc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5EA2B9C-E546-4A74-BA34-1C26AEAE1F38}"/>
              </a:ext>
            </a:extLst>
          </p:cNvPr>
          <p:cNvGrpSpPr/>
          <p:nvPr/>
        </p:nvGrpSpPr>
        <p:grpSpPr>
          <a:xfrm>
            <a:off x="4494553" y="1372941"/>
            <a:ext cx="504000" cy="504000"/>
            <a:chOff x="8696090" y="4803991"/>
            <a:chExt cx="504000" cy="50400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C28ABC38-F4DC-4B58-8709-9315A5AC31E1}"/>
                </a:ext>
              </a:extLst>
            </p:cNvPr>
            <p:cNvSpPr/>
            <p:nvPr/>
          </p:nvSpPr>
          <p:spPr>
            <a:xfrm>
              <a:off x="8696090" y="4803991"/>
              <a:ext cx="504000" cy="504000"/>
            </a:xfrm>
            <a:prstGeom prst="ellipse">
              <a:avLst/>
            </a:prstGeom>
            <a:noFill/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D623CAE4-4D37-4E9C-90B3-39DF97AA2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17654" y="4948627"/>
              <a:ext cx="72000" cy="720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F59B01D-DF93-4280-85B1-9CA4C176CE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08872" y="4948627"/>
              <a:ext cx="72000" cy="720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4D99AE6-971A-4B1B-9C79-32E3FC00F5EC}"/>
                </a:ext>
              </a:extLst>
            </p:cNvPr>
            <p:cNvCxnSpPr>
              <a:cxnSpLocks/>
            </p:cNvCxnSpPr>
            <p:nvPr/>
          </p:nvCxnSpPr>
          <p:spPr>
            <a:xfrm>
              <a:off x="8797902" y="5140859"/>
              <a:ext cx="304000" cy="0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0C670A1-EABE-4D70-ADF4-8893EC6C915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809045" y="2975124"/>
            <a:ext cx="496592" cy="542925"/>
            <a:chOff x="5708651" y="476251"/>
            <a:chExt cx="663575" cy="725488"/>
          </a:xfrm>
          <a:solidFill>
            <a:schemeClr val="accent3"/>
          </a:solidFill>
        </p:grpSpPr>
        <p:sp>
          <p:nvSpPr>
            <p:cNvPr id="91" name="Freeform 31">
              <a:extLst>
                <a:ext uri="{FF2B5EF4-FFF2-40B4-BE49-F238E27FC236}">
                  <a16:creationId xmlns:a16="http://schemas.microsoft.com/office/drawing/2014/main" id="{DAE5F5C6-1BA1-4AB3-940A-A6633605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2" name="Rectangle 32">
              <a:extLst>
                <a:ext uri="{FF2B5EF4-FFF2-40B4-BE49-F238E27FC236}">
                  <a16:creationId xmlns:a16="http://schemas.microsoft.com/office/drawing/2014/main" id="{EDF9A8CC-6BC8-4B4B-B442-CB11B799D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3" name="Freeform 33">
              <a:extLst>
                <a:ext uri="{FF2B5EF4-FFF2-40B4-BE49-F238E27FC236}">
                  <a16:creationId xmlns:a16="http://schemas.microsoft.com/office/drawing/2014/main" id="{D677A1E3-0B69-45F2-8AC1-110BD5D14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4" name="Freeform 34">
              <a:extLst>
                <a:ext uri="{FF2B5EF4-FFF2-40B4-BE49-F238E27FC236}">
                  <a16:creationId xmlns:a16="http://schemas.microsoft.com/office/drawing/2014/main" id="{8F0F6EDE-8E8A-4EEC-B770-4A1609D8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5" name="Freeform 35">
              <a:extLst>
                <a:ext uri="{FF2B5EF4-FFF2-40B4-BE49-F238E27FC236}">
                  <a16:creationId xmlns:a16="http://schemas.microsoft.com/office/drawing/2014/main" id="{B13F00BC-CED1-4FF7-A2A2-75DB3CCAD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6" name="Freeform 36">
              <a:extLst>
                <a:ext uri="{FF2B5EF4-FFF2-40B4-BE49-F238E27FC236}">
                  <a16:creationId xmlns:a16="http://schemas.microsoft.com/office/drawing/2014/main" id="{E7EC989B-FA5B-4E7A-BD1A-D65E43B55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97" name="Freeform 37">
              <a:extLst>
                <a:ext uri="{FF2B5EF4-FFF2-40B4-BE49-F238E27FC236}">
                  <a16:creationId xmlns:a16="http://schemas.microsoft.com/office/drawing/2014/main" id="{2B0BDAF9-86B2-49E6-9717-11B47566C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grpSp>
        <p:nvGrpSpPr>
          <p:cNvPr id="98" name="Pie_char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7B7B641-3DB4-47FD-92D8-77750E7AE92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477582" y="2975124"/>
            <a:ext cx="537942" cy="542925"/>
            <a:chOff x="6097" y="214"/>
            <a:chExt cx="216" cy="218"/>
          </a:xfrm>
        </p:grpSpPr>
        <p:sp>
          <p:nvSpPr>
            <p:cNvPr id="99" name="Freeform 76">
              <a:extLst>
                <a:ext uri="{FF2B5EF4-FFF2-40B4-BE49-F238E27FC236}">
                  <a16:creationId xmlns:a16="http://schemas.microsoft.com/office/drawing/2014/main" id="{92DB5207-39A7-4617-8F69-903FDA7B9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" y="215"/>
              <a:ext cx="216" cy="217"/>
            </a:xfrm>
            <a:custGeom>
              <a:avLst/>
              <a:gdLst>
                <a:gd name="T0" fmla="*/ 225 w 450"/>
                <a:gd name="T1" fmla="*/ 225 h 450"/>
                <a:gd name="T2" fmla="*/ 450 w 450"/>
                <a:gd name="T3" fmla="*/ 225 h 450"/>
                <a:gd name="T4" fmla="*/ 225 w 450"/>
                <a:gd name="T5" fmla="*/ 450 h 450"/>
                <a:gd name="T6" fmla="*/ 0 w 450"/>
                <a:gd name="T7" fmla="*/ 225 h 450"/>
                <a:gd name="T8" fmla="*/ 225 w 450"/>
                <a:gd name="T9" fmla="*/ 0 h 450"/>
                <a:gd name="T10" fmla="*/ 225 w 450"/>
                <a:gd name="T11" fmla="*/ 225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450">
                  <a:moveTo>
                    <a:pt x="225" y="225"/>
                  </a:moveTo>
                  <a:lnTo>
                    <a:pt x="450" y="225"/>
                  </a:lnTo>
                  <a:cubicBezTo>
                    <a:pt x="446" y="346"/>
                    <a:pt x="347" y="450"/>
                    <a:pt x="225" y="450"/>
                  </a:cubicBezTo>
                  <a:cubicBezTo>
                    <a:pt x="101" y="450"/>
                    <a:pt x="0" y="349"/>
                    <a:pt x="0" y="225"/>
                  </a:cubicBezTo>
                  <a:cubicBezTo>
                    <a:pt x="0" y="103"/>
                    <a:pt x="104" y="4"/>
                    <a:pt x="225" y="0"/>
                  </a:cubicBezTo>
                  <a:lnTo>
                    <a:pt x="225" y="225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77">
              <a:extLst>
                <a:ext uri="{FF2B5EF4-FFF2-40B4-BE49-F238E27FC236}">
                  <a16:creationId xmlns:a16="http://schemas.microsoft.com/office/drawing/2014/main" id="{179C8295-82F4-4FC3-81A0-EA0690950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7" y="214"/>
              <a:ext cx="96" cy="97"/>
            </a:xfrm>
            <a:custGeom>
              <a:avLst/>
              <a:gdLst>
                <a:gd name="T0" fmla="*/ 0 w 200"/>
                <a:gd name="T1" fmla="*/ 0 h 200"/>
                <a:gd name="T2" fmla="*/ 200 w 200"/>
                <a:gd name="T3" fmla="*/ 200 h 200"/>
                <a:gd name="T4" fmla="*/ 0 w 200"/>
                <a:gd name="T5" fmla="*/ 200 h 200"/>
                <a:gd name="T6" fmla="*/ 0 w 200"/>
                <a:gd name="T7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200">
                  <a:moveTo>
                    <a:pt x="0" y="0"/>
                  </a:moveTo>
                  <a:cubicBezTo>
                    <a:pt x="106" y="10"/>
                    <a:pt x="190" y="94"/>
                    <a:pt x="200" y="200"/>
                  </a:cubicBezTo>
                  <a:lnTo>
                    <a:pt x="0" y="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9" name="Area_char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615A8E-B4B6-43C1-984C-D5E1A5C9531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076481" y="2975124"/>
            <a:ext cx="583297" cy="542925"/>
            <a:chOff x="8358188" y="3130551"/>
            <a:chExt cx="665163" cy="619125"/>
          </a:xfrm>
          <a:solidFill>
            <a:schemeClr val="accent1"/>
          </a:solidFill>
        </p:grpSpPr>
        <p:sp>
          <p:nvSpPr>
            <p:cNvPr id="110" name="Freeform 9">
              <a:extLst>
                <a:ext uri="{FF2B5EF4-FFF2-40B4-BE49-F238E27FC236}">
                  <a16:creationId xmlns:a16="http://schemas.microsoft.com/office/drawing/2014/main" id="{2F48B073-2094-4ECD-82F7-33F78ED02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3130551"/>
              <a:ext cx="665163" cy="619125"/>
            </a:xfrm>
            <a:custGeom>
              <a:avLst/>
              <a:gdLst>
                <a:gd name="T0" fmla="*/ 419 w 419"/>
                <a:gd name="T1" fmla="*/ 390 h 390"/>
                <a:gd name="T2" fmla="*/ 0 w 419"/>
                <a:gd name="T3" fmla="*/ 390 h 390"/>
                <a:gd name="T4" fmla="*/ 0 w 419"/>
                <a:gd name="T5" fmla="*/ 0 h 390"/>
                <a:gd name="T6" fmla="*/ 30 w 419"/>
                <a:gd name="T7" fmla="*/ 0 h 390"/>
                <a:gd name="T8" fmla="*/ 30 w 419"/>
                <a:gd name="T9" fmla="*/ 359 h 390"/>
                <a:gd name="T10" fmla="*/ 419 w 419"/>
                <a:gd name="T11" fmla="*/ 359 h 390"/>
                <a:gd name="T12" fmla="*/ 419 w 419"/>
                <a:gd name="T13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390">
                  <a:moveTo>
                    <a:pt x="419" y="390"/>
                  </a:moveTo>
                  <a:lnTo>
                    <a:pt x="0" y="390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359"/>
                  </a:lnTo>
                  <a:lnTo>
                    <a:pt x="419" y="359"/>
                  </a:lnTo>
                  <a:lnTo>
                    <a:pt x="419" y="3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11" name="Freeform 105">
              <a:extLst>
                <a:ext uri="{FF2B5EF4-FFF2-40B4-BE49-F238E27FC236}">
                  <a16:creationId xmlns:a16="http://schemas.microsoft.com/office/drawing/2014/main" id="{48914E64-32D0-4383-8A71-00D38D814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3913" y="3225801"/>
              <a:ext cx="579438" cy="327025"/>
            </a:xfrm>
            <a:custGeom>
              <a:avLst/>
              <a:gdLst>
                <a:gd name="T0" fmla="*/ 120 w 365"/>
                <a:gd name="T1" fmla="*/ 156 h 206"/>
                <a:gd name="T2" fmla="*/ 177 w 365"/>
                <a:gd name="T3" fmla="*/ 114 h 206"/>
                <a:gd name="T4" fmla="*/ 249 w 365"/>
                <a:gd name="T5" fmla="*/ 206 h 206"/>
                <a:gd name="T6" fmla="*/ 365 w 365"/>
                <a:gd name="T7" fmla="*/ 194 h 206"/>
                <a:gd name="T8" fmla="*/ 365 w 365"/>
                <a:gd name="T9" fmla="*/ 150 h 206"/>
                <a:gd name="T10" fmla="*/ 261 w 365"/>
                <a:gd name="T11" fmla="*/ 161 h 206"/>
                <a:gd name="T12" fmla="*/ 183 w 365"/>
                <a:gd name="T13" fmla="*/ 46 h 206"/>
                <a:gd name="T14" fmla="*/ 121 w 365"/>
                <a:gd name="T15" fmla="*/ 100 h 206"/>
                <a:gd name="T16" fmla="*/ 0 w 365"/>
                <a:gd name="T17" fmla="*/ 0 h 206"/>
                <a:gd name="T18" fmla="*/ 0 w 365"/>
                <a:gd name="T19" fmla="*/ 61 h 206"/>
                <a:gd name="T20" fmla="*/ 120 w 365"/>
                <a:gd name="T21" fmla="*/ 15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5" h="206">
                  <a:moveTo>
                    <a:pt x="120" y="156"/>
                  </a:moveTo>
                  <a:lnTo>
                    <a:pt x="177" y="114"/>
                  </a:lnTo>
                  <a:lnTo>
                    <a:pt x="249" y="206"/>
                  </a:lnTo>
                  <a:lnTo>
                    <a:pt x="365" y="194"/>
                  </a:lnTo>
                  <a:lnTo>
                    <a:pt x="365" y="150"/>
                  </a:lnTo>
                  <a:lnTo>
                    <a:pt x="261" y="161"/>
                  </a:lnTo>
                  <a:lnTo>
                    <a:pt x="183" y="46"/>
                  </a:lnTo>
                  <a:lnTo>
                    <a:pt x="121" y="10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20" y="1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12" name="Freeform 106">
              <a:extLst>
                <a:ext uri="{FF2B5EF4-FFF2-40B4-BE49-F238E27FC236}">
                  <a16:creationId xmlns:a16="http://schemas.microsoft.com/office/drawing/2014/main" id="{C7776075-7844-4C81-8694-1DF01E6A3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3913" y="3384551"/>
              <a:ext cx="579438" cy="284163"/>
            </a:xfrm>
            <a:custGeom>
              <a:avLst/>
              <a:gdLst>
                <a:gd name="T0" fmla="*/ 236 w 365"/>
                <a:gd name="T1" fmla="*/ 138 h 179"/>
                <a:gd name="T2" fmla="*/ 171 w 365"/>
                <a:gd name="T3" fmla="*/ 55 h 179"/>
                <a:gd name="T4" fmla="*/ 119 w 365"/>
                <a:gd name="T5" fmla="*/ 94 h 179"/>
                <a:gd name="T6" fmla="*/ 0 w 365"/>
                <a:gd name="T7" fmla="*/ 0 h 179"/>
                <a:gd name="T8" fmla="*/ 0 w 365"/>
                <a:gd name="T9" fmla="*/ 179 h 179"/>
                <a:gd name="T10" fmla="*/ 365 w 365"/>
                <a:gd name="T11" fmla="*/ 179 h 179"/>
                <a:gd name="T12" fmla="*/ 365 w 365"/>
                <a:gd name="T13" fmla="*/ 124 h 179"/>
                <a:gd name="T14" fmla="*/ 236 w 365"/>
                <a:gd name="T15" fmla="*/ 13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179">
                  <a:moveTo>
                    <a:pt x="236" y="138"/>
                  </a:moveTo>
                  <a:lnTo>
                    <a:pt x="171" y="55"/>
                  </a:lnTo>
                  <a:lnTo>
                    <a:pt x="119" y="94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365" y="179"/>
                  </a:lnTo>
                  <a:lnTo>
                    <a:pt x="365" y="124"/>
                  </a:lnTo>
                  <a:lnTo>
                    <a:pt x="236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grpSp>
        <p:nvGrpSpPr>
          <p:cNvPr id="113" name="AI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2B9F2C2-056F-4104-B8F1-A665FF79CD8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77206" y="4596763"/>
            <a:ext cx="542925" cy="542925"/>
            <a:chOff x="3037632" y="1211423"/>
            <a:chExt cx="722635" cy="722633"/>
          </a:xfrm>
          <a:solidFill>
            <a:schemeClr val="accent1"/>
          </a:solidFill>
        </p:grpSpPr>
        <p:grpSp>
          <p:nvGrpSpPr>
            <p:cNvPr id="114" name="Brain9">
              <a:extLst>
                <a:ext uri="{FF2B5EF4-FFF2-40B4-BE49-F238E27FC236}">
                  <a16:creationId xmlns:a16="http://schemas.microsoft.com/office/drawing/2014/main" id="{D85C2B38-5AC1-42A6-9DF3-945AF973EA6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3037632" y="1211423"/>
              <a:ext cx="722635" cy="722633"/>
              <a:chOff x="6621463" y="3619501"/>
              <a:chExt cx="292100" cy="292100"/>
            </a:xfrm>
            <a:grpFill/>
          </p:grpSpPr>
          <p:sp>
            <p:nvSpPr>
              <p:cNvPr id="116" name="Freeform 558">
                <a:extLst>
                  <a:ext uri="{FF2B5EF4-FFF2-40B4-BE49-F238E27FC236}">
                    <a16:creationId xmlns:a16="http://schemas.microsoft.com/office/drawing/2014/main" id="{3C106F04-55A2-45F0-B828-C5F4CBD34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1463" y="3619501"/>
                <a:ext cx="292100" cy="292100"/>
              </a:xfrm>
              <a:custGeom>
                <a:avLst/>
                <a:gdLst>
                  <a:gd name="T0" fmla="*/ 332 w 383"/>
                  <a:gd name="T1" fmla="*/ 165 h 383"/>
                  <a:gd name="T2" fmla="*/ 332 w 383"/>
                  <a:gd name="T3" fmla="*/ 174 h 383"/>
                  <a:gd name="T4" fmla="*/ 356 w 383"/>
                  <a:gd name="T5" fmla="*/ 233 h 383"/>
                  <a:gd name="T6" fmla="*/ 297 w 383"/>
                  <a:gd name="T7" fmla="*/ 248 h 383"/>
                  <a:gd name="T8" fmla="*/ 319 w 383"/>
                  <a:gd name="T9" fmla="*/ 360 h 383"/>
                  <a:gd name="T10" fmla="*/ 225 w 383"/>
                  <a:gd name="T11" fmla="*/ 262 h 383"/>
                  <a:gd name="T12" fmla="*/ 255 w 383"/>
                  <a:gd name="T13" fmla="*/ 218 h 383"/>
                  <a:gd name="T14" fmla="*/ 216 w 383"/>
                  <a:gd name="T15" fmla="*/ 255 h 383"/>
                  <a:gd name="T16" fmla="*/ 216 w 383"/>
                  <a:gd name="T17" fmla="*/ 255 h 383"/>
                  <a:gd name="T18" fmla="*/ 163 w 383"/>
                  <a:gd name="T19" fmla="*/ 232 h 383"/>
                  <a:gd name="T20" fmla="*/ 104 w 383"/>
                  <a:gd name="T21" fmla="*/ 249 h 383"/>
                  <a:gd name="T22" fmla="*/ 86 w 383"/>
                  <a:gd name="T23" fmla="*/ 184 h 383"/>
                  <a:gd name="T24" fmla="*/ 76 w 383"/>
                  <a:gd name="T25" fmla="*/ 185 h 383"/>
                  <a:gd name="T26" fmla="*/ 16 w 383"/>
                  <a:gd name="T27" fmla="*/ 192 h 383"/>
                  <a:gd name="T28" fmla="*/ 27 w 383"/>
                  <a:gd name="T29" fmla="*/ 143 h 383"/>
                  <a:gd name="T30" fmla="*/ 53 w 383"/>
                  <a:gd name="T31" fmla="*/ 91 h 383"/>
                  <a:gd name="T32" fmla="*/ 93 w 383"/>
                  <a:gd name="T33" fmla="*/ 113 h 383"/>
                  <a:gd name="T34" fmla="*/ 98 w 383"/>
                  <a:gd name="T35" fmla="*/ 106 h 383"/>
                  <a:gd name="T36" fmla="*/ 76 w 383"/>
                  <a:gd name="T37" fmla="*/ 52 h 383"/>
                  <a:gd name="T38" fmla="*/ 107 w 383"/>
                  <a:gd name="T39" fmla="*/ 46 h 383"/>
                  <a:gd name="T40" fmla="*/ 169 w 383"/>
                  <a:gd name="T41" fmla="*/ 29 h 383"/>
                  <a:gd name="T42" fmla="*/ 237 w 383"/>
                  <a:gd name="T43" fmla="*/ 30 h 383"/>
                  <a:gd name="T44" fmla="*/ 212 w 383"/>
                  <a:gd name="T45" fmla="*/ 87 h 383"/>
                  <a:gd name="T46" fmla="*/ 218 w 383"/>
                  <a:gd name="T47" fmla="*/ 95 h 383"/>
                  <a:gd name="T48" fmla="*/ 269 w 383"/>
                  <a:gd name="T49" fmla="*/ 108 h 383"/>
                  <a:gd name="T50" fmla="*/ 274 w 383"/>
                  <a:gd name="T51" fmla="*/ 112 h 383"/>
                  <a:gd name="T52" fmla="*/ 255 w 383"/>
                  <a:gd name="T53" fmla="*/ 80 h 383"/>
                  <a:gd name="T54" fmla="*/ 289 w 383"/>
                  <a:gd name="T55" fmla="*/ 35 h 383"/>
                  <a:gd name="T56" fmla="*/ 300 w 383"/>
                  <a:gd name="T57" fmla="*/ 69 h 383"/>
                  <a:gd name="T58" fmla="*/ 302 w 383"/>
                  <a:gd name="T59" fmla="*/ 78 h 383"/>
                  <a:gd name="T60" fmla="*/ 319 w 383"/>
                  <a:gd name="T61" fmla="*/ 78 h 383"/>
                  <a:gd name="T62" fmla="*/ 350 w 383"/>
                  <a:gd name="T63" fmla="*/ 123 h 383"/>
                  <a:gd name="T64" fmla="*/ 365 w 383"/>
                  <a:gd name="T65" fmla="*/ 180 h 383"/>
                  <a:gd name="T66" fmla="*/ 356 w 383"/>
                  <a:gd name="T67" fmla="*/ 116 h 383"/>
                  <a:gd name="T68" fmla="*/ 293 w 383"/>
                  <a:gd name="T69" fmla="*/ 27 h 383"/>
                  <a:gd name="T70" fmla="*/ 170 w 383"/>
                  <a:gd name="T71" fmla="*/ 19 h 383"/>
                  <a:gd name="T72" fmla="*/ 70 w 383"/>
                  <a:gd name="T73" fmla="*/ 44 h 383"/>
                  <a:gd name="T74" fmla="*/ 20 w 383"/>
                  <a:gd name="T75" fmla="*/ 102 h 383"/>
                  <a:gd name="T76" fmla="*/ 8 w 383"/>
                  <a:gd name="T77" fmla="*/ 196 h 383"/>
                  <a:gd name="T78" fmla="*/ 102 w 383"/>
                  <a:gd name="T79" fmla="*/ 258 h 383"/>
                  <a:gd name="T80" fmla="*/ 215 w 383"/>
                  <a:gd name="T81" fmla="*/ 265 h 383"/>
                  <a:gd name="T82" fmla="*/ 298 w 383"/>
                  <a:gd name="T83" fmla="*/ 383 h 383"/>
                  <a:gd name="T84" fmla="*/ 327 w 383"/>
                  <a:gd name="T85" fmla="*/ 366 h 383"/>
                  <a:gd name="T86" fmla="*/ 307 w 383"/>
                  <a:gd name="T87" fmla="*/ 257 h 383"/>
                  <a:gd name="T88" fmla="*/ 371 w 383"/>
                  <a:gd name="T89" fmla="*/ 189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83" h="383">
                    <a:moveTo>
                      <a:pt x="365" y="180"/>
                    </a:moveTo>
                    <a:cubicBezTo>
                      <a:pt x="357" y="169"/>
                      <a:pt x="346" y="164"/>
                      <a:pt x="332" y="165"/>
                    </a:cubicBezTo>
                    <a:cubicBezTo>
                      <a:pt x="329" y="165"/>
                      <a:pt x="327" y="167"/>
                      <a:pt x="327" y="170"/>
                    </a:cubicBezTo>
                    <a:cubicBezTo>
                      <a:pt x="327" y="173"/>
                      <a:pt x="330" y="175"/>
                      <a:pt x="332" y="174"/>
                    </a:cubicBezTo>
                    <a:cubicBezTo>
                      <a:pt x="346" y="174"/>
                      <a:pt x="354" y="179"/>
                      <a:pt x="361" y="191"/>
                    </a:cubicBezTo>
                    <a:cubicBezTo>
                      <a:pt x="368" y="205"/>
                      <a:pt x="366" y="221"/>
                      <a:pt x="356" y="233"/>
                    </a:cubicBezTo>
                    <a:cubicBezTo>
                      <a:pt x="344" y="247"/>
                      <a:pt x="323" y="253"/>
                      <a:pt x="302" y="247"/>
                    </a:cubicBezTo>
                    <a:cubicBezTo>
                      <a:pt x="300" y="246"/>
                      <a:pt x="299" y="246"/>
                      <a:pt x="297" y="248"/>
                    </a:cubicBezTo>
                    <a:cubicBezTo>
                      <a:pt x="296" y="249"/>
                      <a:pt x="296" y="250"/>
                      <a:pt x="296" y="252"/>
                    </a:cubicBezTo>
                    <a:lnTo>
                      <a:pt x="319" y="360"/>
                    </a:lnTo>
                    <a:lnTo>
                      <a:pt x="299" y="372"/>
                    </a:lnTo>
                    <a:lnTo>
                      <a:pt x="225" y="262"/>
                    </a:lnTo>
                    <a:cubicBezTo>
                      <a:pt x="243" y="255"/>
                      <a:pt x="257" y="240"/>
                      <a:pt x="259" y="224"/>
                    </a:cubicBezTo>
                    <a:cubicBezTo>
                      <a:pt x="260" y="221"/>
                      <a:pt x="258" y="219"/>
                      <a:pt x="255" y="218"/>
                    </a:cubicBezTo>
                    <a:cubicBezTo>
                      <a:pt x="253" y="218"/>
                      <a:pt x="250" y="220"/>
                      <a:pt x="250" y="222"/>
                    </a:cubicBezTo>
                    <a:cubicBezTo>
                      <a:pt x="248" y="237"/>
                      <a:pt x="233" y="251"/>
                      <a:pt x="216" y="255"/>
                    </a:cubicBezTo>
                    <a:cubicBezTo>
                      <a:pt x="216" y="255"/>
                      <a:pt x="216" y="255"/>
                      <a:pt x="216" y="255"/>
                    </a:cubicBezTo>
                    <a:lnTo>
                      <a:pt x="216" y="255"/>
                    </a:lnTo>
                    <a:cubicBezTo>
                      <a:pt x="201" y="259"/>
                      <a:pt x="178" y="249"/>
                      <a:pt x="166" y="233"/>
                    </a:cubicBezTo>
                    <a:cubicBezTo>
                      <a:pt x="165" y="232"/>
                      <a:pt x="164" y="232"/>
                      <a:pt x="163" y="232"/>
                    </a:cubicBezTo>
                    <a:cubicBezTo>
                      <a:pt x="161" y="231"/>
                      <a:pt x="160" y="232"/>
                      <a:pt x="159" y="233"/>
                    </a:cubicBezTo>
                    <a:cubicBezTo>
                      <a:pt x="146" y="247"/>
                      <a:pt x="125" y="253"/>
                      <a:pt x="104" y="249"/>
                    </a:cubicBezTo>
                    <a:cubicBezTo>
                      <a:pt x="85" y="244"/>
                      <a:pt x="70" y="233"/>
                      <a:pt x="63" y="218"/>
                    </a:cubicBezTo>
                    <a:cubicBezTo>
                      <a:pt x="76" y="213"/>
                      <a:pt x="88" y="200"/>
                      <a:pt x="86" y="184"/>
                    </a:cubicBezTo>
                    <a:cubicBezTo>
                      <a:pt x="85" y="181"/>
                      <a:pt x="83" y="179"/>
                      <a:pt x="80" y="180"/>
                    </a:cubicBezTo>
                    <a:cubicBezTo>
                      <a:pt x="78" y="180"/>
                      <a:pt x="76" y="182"/>
                      <a:pt x="76" y="185"/>
                    </a:cubicBezTo>
                    <a:cubicBezTo>
                      <a:pt x="78" y="198"/>
                      <a:pt x="67" y="207"/>
                      <a:pt x="56" y="211"/>
                    </a:cubicBezTo>
                    <a:cubicBezTo>
                      <a:pt x="38" y="214"/>
                      <a:pt x="23" y="207"/>
                      <a:pt x="16" y="192"/>
                    </a:cubicBezTo>
                    <a:cubicBezTo>
                      <a:pt x="10" y="177"/>
                      <a:pt x="14" y="159"/>
                      <a:pt x="26" y="148"/>
                    </a:cubicBezTo>
                    <a:cubicBezTo>
                      <a:pt x="28" y="147"/>
                      <a:pt x="28" y="145"/>
                      <a:pt x="27" y="143"/>
                    </a:cubicBezTo>
                    <a:cubicBezTo>
                      <a:pt x="22" y="130"/>
                      <a:pt x="22" y="117"/>
                      <a:pt x="28" y="107"/>
                    </a:cubicBezTo>
                    <a:cubicBezTo>
                      <a:pt x="33" y="98"/>
                      <a:pt x="42" y="92"/>
                      <a:pt x="53" y="91"/>
                    </a:cubicBezTo>
                    <a:cubicBezTo>
                      <a:pt x="69" y="89"/>
                      <a:pt x="83" y="97"/>
                      <a:pt x="89" y="110"/>
                    </a:cubicBezTo>
                    <a:cubicBezTo>
                      <a:pt x="90" y="112"/>
                      <a:pt x="91" y="113"/>
                      <a:pt x="93" y="113"/>
                    </a:cubicBezTo>
                    <a:cubicBezTo>
                      <a:pt x="94" y="113"/>
                      <a:pt x="94" y="113"/>
                      <a:pt x="95" y="112"/>
                    </a:cubicBezTo>
                    <a:cubicBezTo>
                      <a:pt x="97" y="111"/>
                      <a:pt x="99" y="109"/>
                      <a:pt x="98" y="106"/>
                    </a:cubicBezTo>
                    <a:cubicBezTo>
                      <a:pt x="91" y="91"/>
                      <a:pt x="76" y="82"/>
                      <a:pt x="59" y="81"/>
                    </a:cubicBezTo>
                    <a:cubicBezTo>
                      <a:pt x="61" y="69"/>
                      <a:pt x="67" y="58"/>
                      <a:pt x="76" y="52"/>
                    </a:cubicBezTo>
                    <a:cubicBezTo>
                      <a:pt x="84" y="46"/>
                      <a:pt x="94" y="44"/>
                      <a:pt x="105" y="46"/>
                    </a:cubicBezTo>
                    <a:cubicBezTo>
                      <a:pt x="106" y="46"/>
                      <a:pt x="106" y="46"/>
                      <a:pt x="107" y="46"/>
                    </a:cubicBezTo>
                    <a:cubicBezTo>
                      <a:pt x="108" y="46"/>
                      <a:pt x="109" y="45"/>
                      <a:pt x="110" y="44"/>
                    </a:cubicBezTo>
                    <a:cubicBezTo>
                      <a:pt x="113" y="41"/>
                      <a:pt x="135" y="16"/>
                      <a:pt x="169" y="29"/>
                    </a:cubicBezTo>
                    <a:cubicBezTo>
                      <a:pt x="171" y="30"/>
                      <a:pt x="173" y="29"/>
                      <a:pt x="174" y="28"/>
                    </a:cubicBezTo>
                    <a:cubicBezTo>
                      <a:pt x="194" y="9"/>
                      <a:pt x="222" y="14"/>
                      <a:pt x="237" y="30"/>
                    </a:cubicBezTo>
                    <a:cubicBezTo>
                      <a:pt x="245" y="40"/>
                      <a:pt x="251" y="59"/>
                      <a:pt x="246" y="78"/>
                    </a:cubicBezTo>
                    <a:cubicBezTo>
                      <a:pt x="229" y="77"/>
                      <a:pt x="213" y="87"/>
                      <a:pt x="212" y="87"/>
                    </a:cubicBezTo>
                    <a:cubicBezTo>
                      <a:pt x="210" y="89"/>
                      <a:pt x="210" y="92"/>
                      <a:pt x="211" y="94"/>
                    </a:cubicBezTo>
                    <a:cubicBezTo>
                      <a:pt x="213" y="96"/>
                      <a:pt x="215" y="97"/>
                      <a:pt x="218" y="95"/>
                    </a:cubicBezTo>
                    <a:cubicBezTo>
                      <a:pt x="218" y="95"/>
                      <a:pt x="234" y="84"/>
                      <a:pt x="249" y="88"/>
                    </a:cubicBezTo>
                    <a:cubicBezTo>
                      <a:pt x="264" y="91"/>
                      <a:pt x="268" y="108"/>
                      <a:pt x="269" y="108"/>
                    </a:cubicBezTo>
                    <a:cubicBezTo>
                      <a:pt x="269" y="110"/>
                      <a:pt x="271" y="112"/>
                      <a:pt x="273" y="112"/>
                    </a:cubicBezTo>
                    <a:cubicBezTo>
                      <a:pt x="273" y="112"/>
                      <a:pt x="274" y="112"/>
                      <a:pt x="274" y="112"/>
                    </a:cubicBezTo>
                    <a:cubicBezTo>
                      <a:pt x="277" y="111"/>
                      <a:pt x="278" y="108"/>
                      <a:pt x="278" y="106"/>
                    </a:cubicBezTo>
                    <a:cubicBezTo>
                      <a:pt x="277" y="105"/>
                      <a:pt x="272" y="87"/>
                      <a:pt x="255" y="80"/>
                    </a:cubicBezTo>
                    <a:cubicBezTo>
                      <a:pt x="260" y="61"/>
                      <a:pt x="255" y="42"/>
                      <a:pt x="248" y="29"/>
                    </a:cubicBezTo>
                    <a:cubicBezTo>
                      <a:pt x="262" y="26"/>
                      <a:pt x="276" y="28"/>
                      <a:pt x="289" y="35"/>
                    </a:cubicBezTo>
                    <a:cubicBezTo>
                      <a:pt x="301" y="42"/>
                      <a:pt x="310" y="54"/>
                      <a:pt x="314" y="67"/>
                    </a:cubicBezTo>
                    <a:cubicBezTo>
                      <a:pt x="310" y="67"/>
                      <a:pt x="305" y="67"/>
                      <a:pt x="300" y="69"/>
                    </a:cubicBezTo>
                    <a:cubicBezTo>
                      <a:pt x="298" y="69"/>
                      <a:pt x="296" y="72"/>
                      <a:pt x="297" y="75"/>
                    </a:cubicBezTo>
                    <a:cubicBezTo>
                      <a:pt x="298" y="77"/>
                      <a:pt x="299" y="78"/>
                      <a:pt x="302" y="78"/>
                    </a:cubicBezTo>
                    <a:cubicBezTo>
                      <a:pt x="302" y="78"/>
                      <a:pt x="302" y="78"/>
                      <a:pt x="303" y="78"/>
                    </a:cubicBezTo>
                    <a:cubicBezTo>
                      <a:pt x="311" y="75"/>
                      <a:pt x="319" y="78"/>
                      <a:pt x="319" y="78"/>
                    </a:cubicBezTo>
                    <a:cubicBezTo>
                      <a:pt x="330" y="81"/>
                      <a:pt x="349" y="94"/>
                      <a:pt x="347" y="118"/>
                    </a:cubicBezTo>
                    <a:cubicBezTo>
                      <a:pt x="347" y="120"/>
                      <a:pt x="348" y="122"/>
                      <a:pt x="350" y="123"/>
                    </a:cubicBezTo>
                    <a:cubicBezTo>
                      <a:pt x="359" y="127"/>
                      <a:pt x="366" y="135"/>
                      <a:pt x="369" y="146"/>
                    </a:cubicBezTo>
                    <a:cubicBezTo>
                      <a:pt x="372" y="156"/>
                      <a:pt x="371" y="169"/>
                      <a:pt x="365" y="180"/>
                    </a:cubicBezTo>
                    <a:close/>
                    <a:moveTo>
                      <a:pt x="378" y="143"/>
                    </a:moveTo>
                    <a:cubicBezTo>
                      <a:pt x="375" y="131"/>
                      <a:pt x="367" y="121"/>
                      <a:pt x="356" y="116"/>
                    </a:cubicBezTo>
                    <a:cubicBezTo>
                      <a:pt x="357" y="89"/>
                      <a:pt x="338" y="75"/>
                      <a:pt x="325" y="70"/>
                    </a:cubicBezTo>
                    <a:cubicBezTo>
                      <a:pt x="321" y="52"/>
                      <a:pt x="309" y="36"/>
                      <a:pt x="293" y="27"/>
                    </a:cubicBezTo>
                    <a:cubicBezTo>
                      <a:pt x="277" y="18"/>
                      <a:pt x="259" y="16"/>
                      <a:pt x="241" y="21"/>
                    </a:cubicBezTo>
                    <a:cubicBezTo>
                      <a:pt x="223" y="4"/>
                      <a:pt x="193" y="0"/>
                      <a:pt x="170" y="19"/>
                    </a:cubicBezTo>
                    <a:cubicBezTo>
                      <a:pt x="136" y="7"/>
                      <a:pt x="112" y="29"/>
                      <a:pt x="105" y="36"/>
                    </a:cubicBezTo>
                    <a:cubicBezTo>
                      <a:pt x="92" y="34"/>
                      <a:pt x="80" y="37"/>
                      <a:pt x="70" y="44"/>
                    </a:cubicBezTo>
                    <a:cubicBezTo>
                      <a:pt x="59" y="53"/>
                      <a:pt x="51" y="66"/>
                      <a:pt x="49" y="82"/>
                    </a:cubicBezTo>
                    <a:cubicBezTo>
                      <a:pt x="36" y="85"/>
                      <a:pt x="26" y="92"/>
                      <a:pt x="20" y="102"/>
                    </a:cubicBezTo>
                    <a:cubicBezTo>
                      <a:pt x="13" y="114"/>
                      <a:pt x="12" y="129"/>
                      <a:pt x="18" y="143"/>
                    </a:cubicBezTo>
                    <a:cubicBezTo>
                      <a:pt x="4" y="157"/>
                      <a:pt x="0" y="178"/>
                      <a:pt x="8" y="196"/>
                    </a:cubicBezTo>
                    <a:cubicBezTo>
                      <a:pt x="16" y="214"/>
                      <a:pt x="33" y="223"/>
                      <a:pt x="54" y="221"/>
                    </a:cubicBezTo>
                    <a:cubicBezTo>
                      <a:pt x="61" y="239"/>
                      <a:pt x="79" y="253"/>
                      <a:pt x="102" y="258"/>
                    </a:cubicBezTo>
                    <a:cubicBezTo>
                      <a:pt x="124" y="263"/>
                      <a:pt x="147" y="257"/>
                      <a:pt x="162" y="243"/>
                    </a:cubicBezTo>
                    <a:cubicBezTo>
                      <a:pt x="176" y="258"/>
                      <a:pt x="198" y="267"/>
                      <a:pt x="215" y="265"/>
                    </a:cubicBezTo>
                    <a:lnTo>
                      <a:pt x="294" y="381"/>
                    </a:lnTo>
                    <a:cubicBezTo>
                      <a:pt x="295" y="382"/>
                      <a:pt x="296" y="383"/>
                      <a:pt x="298" y="383"/>
                    </a:cubicBezTo>
                    <a:cubicBezTo>
                      <a:pt x="299" y="383"/>
                      <a:pt x="299" y="383"/>
                      <a:pt x="300" y="382"/>
                    </a:cubicBezTo>
                    <a:lnTo>
                      <a:pt x="327" y="366"/>
                    </a:lnTo>
                    <a:cubicBezTo>
                      <a:pt x="328" y="365"/>
                      <a:pt x="329" y="363"/>
                      <a:pt x="329" y="361"/>
                    </a:cubicBezTo>
                    <a:lnTo>
                      <a:pt x="307" y="257"/>
                    </a:lnTo>
                    <a:cubicBezTo>
                      <a:pt x="329" y="261"/>
                      <a:pt x="350" y="255"/>
                      <a:pt x="364" y="239"/>
                    </a:cubicBezTo>
                    <a:cubicBezTo>
                      <a:pt x="375" y="225"/>
                      <a:pt x="378" y="206"/>
                      <a:pt x="371" y="189"/>
                    </a:cubicBezTo>
                    <a:cubicBezTo>
                      <a:pt x="380" y="175"/>
                      <a:pt x="383" y="158"/>
                      <a:pt x="378" y="1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559">
                <a:extLst>
                  <a:ext uri="{FF2B5EF4-FFF2-40B4-BE49-F238E27FC236}">
                    <a16:creationId xmlns:a16="http://schemas.microsoft.com/office/drawing/2014/main" id="{D87F29E7-CE07-4551-83A5-9F3C026A4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697289"/>
                <a:ext cx="41275" cy="63500"/>
              </a:xfrm>
              <a:custGeom>
                <a:avLst/>
                <a:gdLst>
                  <a:gd name="T0" fmla="*/ 35 w 54"/>
                  <a:gd name="T1" fmla="*/ 29 h 85"/>
                  <a:gd name="T2" fmla="*/ 35 w 54"/>
                  <a:gd name="T3" fmla="*/ 29 h 85"/>
                  <a:gd name="T4" fmla="*/ 44 w 54"/>
                  <a:gd name="T5" fmla="*/ 5 h 85"/>
                  <a:gd name="T6" fmla="*/ 40 w 54"/>
                  <a:gd name="T7" fmla="*/ 0 h 85"/>
                  <a:gd name="T8" fmla="*/ 35 w 54"/>
                  <a:gd name="T9" fmla="*/ 5 h 85"/>
                  <a:gd name="T10" fmla="*/ 5 w 54"/>
                  <a:gd name="T11" fmla="*/ 34 h 85"/>
                  <a:gd name="T12" fmla="*/ 1 w 54"/>
                  <a:gd name="T13" fmla="*/ 40 h 85"/>
                  <a:gd name="T14" fmla="*/ 6 w 54"/>
                  <a:gd name="T15" fmla="*/ 44 h 85"/>
                  <a:gd name="T16" fmla="*/ 6 w 54"/>
                  <a:gd name="T17" fmla="*/ 44 h 85"/>
                  <a:gd name="T18" fmla="*/ 28 w 54"/>
                  <a:gd name="T19" fmla="*/ 34 h 85"/>
                  <a:gd name="T20" fmla="*/ 30 w 54"/>
                  <a:gd name="T21" fmla="*/ 37 h 85"/>
                  <a:gd name="T22" fmla="*/ 37 w 54"/>
                  <a:gd name="T23" fmla="*/ 78 h 85"/>
                  <a:gd name="T24" fmla="*/ 40 w 54"/>
                  <a:gd name="T25" fmla="*/ 84 h 85"/>
                  <a:gd name="T26" fmla="*/ 42 w 54"/>
                  <a:gd name="T27" fmla="*/ 85 h 85"/>
                  <a:gd name="T28" fmla="*/ 46 w 54"/>
                  <a:gd name="T29" fmla="*/ 82 h 85"/>
                  <a:gd name="T30" fmla="*/ 35 w 54"/>
                  <a:gd name="T31" fmla="*/ 2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85">
                    <a:moveTo>
                      <a:pt x="35" y="29"/>
                    </a:moveTo>
                    <a:cubicBezTo>
                      <a:pt x="35" y="29"/>
                      <a:pt x="35" y="29"/>
                      <a:pt x="35" y="29"/>
                    </a:cubicBezTo>
                    <a:cubicBezTo>
                      <a:pt x="41" y="22"/>
                      <a:pt x="44" y="15"/>
                      <a:pt x="44" y="5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37" y="0"/>
                      <a:pt x="35" y="2"/>
                      <a:pt x="35" y="5"/>
                    </a:cubicBezTo>
                    <a:cubicBezTo>
                      <a:pt x="35" y="22"/>
                      <a:pt x="20" y="32"/>
                      <a:pt x="5" y="34"/>
                    </a:cubicBezTo>
                    <a:cubicBezTo>
                      <a:pt x="2" y="35"/>
                      <a:pt x="0" y="37"/>
                      <a:pt x="1" y="40"/>
                    </a:cubicBezTo>
                    <a:cubicBezTo>
                      <a:pt x="1" y="42"/>
                      <a:pt x="3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14" y="42"/>
                      <a:pt x="22" y="39"/>
                      <a:pt x="28" y="34"/>
                    </a:cubicBezTo>
                    <a:cubicBezTo>
                      <a:pt x="29" y="35"/>
                      <a:pt x="29" y="36"/>
                      <a:pt x="30" y="37"/>
                    </a:cubicBezTo>
                    <a:cubicBezTo>
                      <a:pt x="44" y="46"/>
                      <a:pt x="44" y="64"/>
                      <a:pt x="37" y="78"/>
                    </a:cubicBezTo>
                    <a:cubicBezTo>
                      <a:pt x="36" y="81"/>
                      <a:pt x="37" y="83"/>
                      <a:pt x="40" y="84"/>
                    </a:cubicBezTo>
                    <a:cubicBezTo>
                      <a:pt x="40" y="85"/>
                      <a:pt x="41" y="85"/>
                      <a:pt x="42" y="85"/>
                    </a:cubicBezTo>
                    <a:cubicBezTo>
                      <a:pt x="43" y="85"/>
                      <a:pt x="45" y="84"/>
                      <a:pt x="46" y="82"/>
                    </a:cubicBezTo>
                    <a:cubicBezTo>
                      <a:pt x="54" y="65"/>
                      <a:pt x="54" y="42"/>
                      <a:pt x="3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id="{A3A8FC19-79AD-49A3-9565-4D330863CB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5623" y="1444637"/>
              <a:ext cx="190291" cy="153560"/>
            </a:xfrm>
            <a:custGeom>
              <a:avLst/>
              <a:gdLst>
                <a:gd name="T0" fmla="*/ 167 w 683"/>
                <a:gd name="T1" fmla="*/ 338 h 551"/>
                <a:gd name="T2" fmla="*/ 244 w 683"/>
                <a:gd name="T3" fmla="*/ 105 h 551"/>
                <a:gd name="T4" fmla="*/ 628 w 683"/>
                <a:gd name="T5" fmla="*/ 0 h 551"/>
                <a:gd name="T6" fmla="*/ 655 w 683"/>
                <a:gd name="T7" fmla="*/ 0 h 551"/>
                <a:gd name="T8" fmla="*/ 672 w 683"/>
                <a:gd name="T9" fmla="*/ 4 h 551"/>
                <a:gd name="T10" fmla="*/ 683 w 683"/>
                <a:gd name="T11" fmla="*/ 17 h 551"/>
                <a:gd name="T12" fmla="*/ 682 w 683"/>
                <a:gd name="T13" fmla="*/ 539 h 551"/>
                <a:gd name="T14" fmla="*/ 664 w 683"/>
                <a:gd name="T15" fmla="*/ 547 h 551"/>
                <a:gd name="T16" fmla="*/ 643 w 683"/>
                <a:gd name="T17" fmla="*/ 549 h 551"/>
                <a:gd name="T18" fmla="*/ 612 w 683"/>
                <a:gd name="T19" fmla="*/ 549 h 551"/>
                <a:gd name="T20" fmla="*/ 591 w 683"/>
                <a:gd name="T21" fmla="*/ 547 h 551"/>
                <a:gd name="T22" fmla="*/ 574 w 683"/>
                <a:gd name="T23" fmla="*/ 539 h 551"/>
                <a:gd name="T24" fmla="*/ 572 w 683"/>
                <a:gd name="T25" fmla="*/ 17 h 551"/>
                <a:gd name="T26" fmla="*/ 578 w 683"/>
                <a:gd name="T27" fmla="*/ 6 h 551"/>
                <a:gd name="T28" fmla="*/ 591 w 683"/>
                <a:gd name="T29" fmla="*/ 2 h 551"/>
                <a:gd name="T30" fmla="*/ 612 w 683"/>
                <a:gd name="T31" fmla="*/ 0 h 551"/>
                <a:gd name="T32" fmla="*/ 628 w 683"/>
                <a:gd name="T33" fmla="*/ 0 h 551"/>
                <a:gd name="T34" fmla="*/ 269 w 683"/>
                <a:gd name="T35" fmla="*/ 0 h 551"/>
                <a:gd name="T36" fmla="*/ 299 w 683"/>
                <a:gd name="T37" fmla="*/ 2 h 551"/>
                <a:gd name="T38" fmla="*/ 315 w 683"/>
                <a:gd name="T39" fmla="*/ 6 h 551"/>
                <a:gd name="T40" fmla="*/ 324 w 683"/>
                <a:gd name="T41" fmla="*/ 15 h 551"/>
                <a:gd name="T42" fmla="*/ 495 w 683"/>
                <a:gd name="T43" fmla="*/ 506 h 551"/>
                <a:gd name="T44" fmla="*/ 501 w 683"/>
                <a:gd name="T45" fmla="*/ 529 h 551"/>
                <a:gd name="T46" fmla="*/ 497 w 683"/>
                <a:gd name="T47" fmla="*/ 543 h 551"/>
                <a:gd name="T48" fmla="*/ 482 w 683"/>
                <a:gd name="T49" fmla="*/ 549 h 551"/>
                <a:gd name="T50" fmla="*/ 449 w 683"/>
                <a:gd name="T51" fmla="*/ 551 h 551"/>
                <a:gd name="T52" fmla="*/ 417 w 683"/>
                <a:gd name="T53" fmla="*/ 549 h 551"/>
                <a:gd name="T54" fmla="*/ 397 w 683"/>
                <a:gd name="T55" fmla="*/ 547 h 551"/>
                <a:gd name="T56" fmla="*/ 388 w 683"/>
                <a:gd name="T57" fmla="*/ 541 h 551"/>
                <a:gd name="T58" fmla="*/ 347 w 683"/>
                <a:gd name="T59" fmla="*/ 422 h 551"/>
                <a:gd name="T60" fmla="*/ 107 w 683"/>
                <a:gd name="T61" fmla="*/ 529 h 551"/>
                <a:gd name="T62" fmla="*/ 94 w 683"/>
                <a:gd name="T63" fmla="*/ 547 h 551"/>
                <a:gd name="T64" fmla="*/ 77 w 683"/>
                <a:gd name="T65" fmla="*/ 549 h 551"/>
                <a:gd name="T66" fmla="*/ 48 w 683"/>
                <a:gd name="T67" fmla="*/ 551 h 551"/>
                <a:gd name="T68" fmla="*/ 17 w 683"/>
                <a:gd name="T69" fmla="*/ 549 h 551"/>
                <a:gd name="T70" fmla="*/ 2 w 683"/>
                <a:gd name="T71" fmla="*/ 543 h 551"/>
                <a:gd name="T72" fmla="*/ 0 w 683"/>
                <a:gd name="T73" fmla="*/ 529 h 551"/>
                <a:gd name="T74" fmla="*/ 6 w 683"/>
                <a:gd name="T75" fmla="*/ 504 h 551"/>
                <a:gd name="T76" fmla="*/ 180 w 683"/>
                <a:gd name="T77" fmla="*/ 9 h 551"/>
                <a:gd name="T78" fmla="*/ 190 w 683"/>
                <a:gd name="T79" fmla="*/ 4 h 551"/>
                <a:gd name="T80" fmla="*/ 211 w 683"/>
                <a:gd name="T81" fmla="*/ 0 h 551"/>
                <a:gd name="T82" fmla="*/ 246 w 683"/>
                <a:gd name="T83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3" h="551">
                  <a:moveTo>
                    <a:pt x="244" y="105"/>
                  </a:moveTo>
                  <a:lnTo>
                    <a:pt x="167" y="338"/>
                  </a:lnTo>
                  <a:lnTo>
                    <a:pt x="323" y="338"/>
                  </a:lnTo>
                  <a:lnTo>
                    <a:pt x="244" y="105"/>
                  </a:lnTo>
                  <a:lnTo>
                    <a:pt x="244" y="105"/>
                  </a:lnTo>
                  <a:close/>
                  <a:moveTo>
                    <a:pt x="628" y="0"/>
                  </a:moveTo>
                  <a:lnTo>
                    <a:pt x="643" y="0"/>
                  </a:lnTo>
                  <a:lnTo>
                    <a:pt x="655" y="0"/>
                  </a:lnTo>
                  <a:lnTo>
                    <a:pt x="664" y="2"/>
                  </a:lnTo>
                  <a:lnTo>
                    <a:pt x="672" y="4"/>
                  </a:lnTo>
                  <a:lnTo>
                    <a:pt x="682" y="9"/>
                  </a:lnTo>
                  <a:lnTo>
                    <a:pt x="683" y="17"/>
                  </a:lnTo>
                  <a:lnTo>
                    <a:pt x="683" y="531"/>
                  </a:lnTo>
                  <a:lnTo>
                    <a:pt x="682" y="539"/>
                  </a:lnTo>
                  <a:lnTo>
                    <a:pt x="672" y="545"/>
                  </a:lnTo>
                  <a:lnTo>
                    <a:pt x="664" y="547"/>
                  </a:lnTo>
                  <a:lnTo>
                    <a:pt x="655" y="549"/>
                  </a:lnTo>
                  <a:lnTo>
                    <a:pt x="643" y="549"/>
                  </a:lnTo>
                  <a:lnTo>
                    <a:pt x="628" y="551"/>
                  </a:lnTo>
                  <a:lnTo>
                    <a:pt x="612" y="549"/>
                  </a:lnTo>
                  <a:lnTo>
                    <a:pt x="601" y="549"/>
                  </a:lnTo>
                  <a:lnTo>
                    <a:pt x="591" y="547"/>
                  </a:lnTo>
                  <a:lnTo>
                    <a:pt x="584" y="545"/>
                  </a:lnTo>
                  <a:lnTo>
                    <a:pt x="574" y="539"/>
                  </a:lnTo>
                  <a:lnTo>
                    <a:pt x="572" y="531"/>
                  </a:lnTo>
                  <a:lnTo>
                    <a:pt x="572" y="17"/>
                  </a:lnTo>
                  <a:lnTo>
                    <a:pt x="574" y="9"/>
                  </a:lnTo>
                  <a:lnTo>
                    <a:pt x="578" y="6"/>
                  </a:lnTo>
                  <a:lnTo>
                    <a:pt x="584" y="4"/>
                  </a:lnTo>
                  <a:lnTo>
                    <a:pt x="591" y="2"/>
                  </a:lnTo>
                  <a:lnTo>
                    <a:pt x="601" y="0"/>
                  </a:lnTo>
                  <a:lnTo>
                    <a:pt x="612" y="0"/>
                  </a:lnTo>
                  <a:lnTo>
                    <a:pt x="628" y="0"/>
                  </a:lnTo>
                  <a:lnTo>
                    <a:pt x="628" y="0"/>
                  </a:lnTo>
                  <a:close/>
                  <a:moveTo>
                    <a:pt x="246" y="0"/>
                  </a:moveTo>
                  <a:lnTo>
                    <a:pt x="269" y="0"/>
                  </a:lnTo>
                  <a:lnTo>
                    <a:pt x="286" y="0"/>
                  </a:lnTo>
                  <a:lnTo>
                    <a:pt x="299" y="2"/>
                  </a:lnTo>
                  <a:lnTo>
                    <a:pt x="309" y="4"/>
                  </a:lnTo>
                  <a:lnTo>
                    <a:pt x="315" y="6"/>
                  </a:lnTo>
                  <a:lnTo>
                    <a:pt x="321" y="9"/>
                  </a:lnTo>
                  <a:lnTo>
                    <a:pt x="324" y="15"/>
                  </a:lnTo>
                  <a:lnTo>
                    <a:pt x="326" y="23"/>
                  </a:lnTo>
                  <a:lnTo>
                    <a:pt x="495" y="506"/>
                  </a:lnTo>
                  <a:lnTo>
                    <a:pt x="499" y="520"/>
                  </a:lnTo>
                  <a:lnTo>
                    <a:pt x="501" y="529"/>
                  </a:lnTo>
                  <a:lnTo>
                    <a:pt x="501" y="537"/>
                  </a:lnTo>
                  <a:lnTo>
                    <a:pt x="497" y="543"/>
                  </a:lnTo>
                  <a:lnTo>
                    <a:pt x="491" y="547"/>
                  </a:lnTo>
                  <a:lnTo>
                    <a:pt x="482" y="549"/>
                  </a:lnTo>
                  <a:lnTo>
                    <a:pt x="468" y="549"/>
                  </a:lnTo>
                  <a:lnTo>
                    <a:pt x="449" y="551"/>
                  </a:lnTo>
                  <a:lnTo>
                    <a:pt x="430" y="551"/>
                  </a:lnTo>
                  <a:lnTo>
                    <a:pt x="417" y="549"/>
                  </a:lnTo>
                  <a:lnTo>
                    <a:pt x="405" y="549"/>
                  </a:lnTo>
                  <a:lnTo>
                    <a:pt x="397" y="547"/>
                  </a:lnTo>
                  <a:lnTo>
                    <a:pt x="392" y="545"/>
                  </a:lnTo>
                  <a:lnTo>
                    <a:pt x="388" y="541"/>
                  </a:lnTo>
                  <a:lnTo>
                    <a:pt x="384" y="533"/>
                  </a:lnTo>
                  <a:lnTo>
                    <a:pt x="347" y="422"/>
                  </a:lnTo>
                  <a:lnTo>
                    <a:pt x="142" y="422"/>
                  </a:lnTo>
                  <a:lnTo>
                    <a:pt x="107" y="529"/>
                  </a:lnTo>
                  <a:lnTo>
                    <a:pt x="104" y="539"/>
                  </a:lnTo>
                  <a:lnTo>
                    <a:pt x="94" y="547"/>
                  </a:lnTo>
                  <a:lnTo>
                    <a:pt x="86" y="549"/>
                  </a:lnTo>
                  <a:lnTo>
                    <a:pt x="77" y="549"/>
                  </a:lnTo>
                  <a:lnTo>
                    <a:pt x="65" y="549"/>
                  </a:lnTo>
                  <a:lnTo>
                    <a:pt x="48" y="551"/>
                  </a:lnTo>
                  <a:lnTo>
                    <a:pt x="31" y="549"/>
                  </a:lnTo>
                  <a:lnTo>
                    <a:pt x="17" y="549"/>
                  </a:lnTo>
                  <a:lnTo>
                    <a:pt x="8" y="547"/>
                  </a:lnTo>
                  <a:lnTo>
                    <a:pt x="2" y="543"/>
                  </a:lnTo>
                  <a:lnTo>
                    <a:pt x="0" y="537"/>
                  </a:lnTo>
                  <a:lnTo>
                    <a:pt x="0" y="529"/>
                  </a:lnTo>
                  <a:lnTo>
                    <a:pt x="2" y="518"/>
                  </a:lnTo>
                  <a:lnTo>
                    <a:pt x="6" y="504"/>
                  </a:lnTo>
                  <a:lnTo>
                    <a:pt x="175" y="21"/>
                  </a:lnTo>
                  <a:lnTo>
                    <a:pt x="180" y="9"/>
                  </a:lnTo>
                  <a:lnTo>
                    <a:pt x="184" y="6"/>
                  </a:lnTo>
                  <a:lnTo>
                    <a:pt x="190" y="4"/>
                  </a:lnTo>
                  <a:lnTo>
                    <a:pt x="200" y="2"/>
                  </a:lnTo>
                  <a:lnTo>
                    <a:pt x="211" y="0"/>
                  </a:lnTo>
                  <a:lnTo>
                    <a:pt x="227" y="0"/>
                  </a:lnTo>
                  <a:lnTo>
                    <a:pt x="246" y="0"/>
                  </a:lnTo>
                  <a:lnTo>
                    <a:pt x="2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grpSp>
        <p:nvGrpSpPr>
          <p:cNvPr id="118" name="Digitize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D8B3DF-3898-4CF1-82A1-93D3C797763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2787184" y="4596765"/>
            <a:ext cx="540315" cy="542925"/>
            <a:chOff x="40" y="37"/>
            <a:chExt cx="414" cy="416"/>
          </a:xfrm>
          <a:solidFill>
            <a:schemeClr val="accent4"/>
          </a:solidFill>
        </p:grpSpPr>
        <p:sp>
          <p:nvSpPr>
            <p:cNvPr id="119" name="Digitized">
              <a:extLst>
                <a:ext uri="{FF2B5EF4-FFF2-40B4-BE49-F238E27FC236}">
                  <a16:creationId xmlns:a16="http://schemas.microsoft.com/office/drawing/2014/main" id="{6031CFEA-DE45-45C0-8F43-8513FB2B4458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0" y="156"/>
              <a:ext cx="414" cy="297"/>
            </a:xfrm>
            <a:custGeom>
              <a:avLst/>
              <a:gdLst>
                <a:gd name="T0" fmla="*/ 888 w 980"/>
                <a:gd name="T1" fmla="*/ 240 h 701"/>
                <a:gd name="T2" fmla="*/ 888 w 980"/>
                <a:gd name="T3" fmla="*/ 363 h 701"/>
                <a:gd name="T4" fmla="*/ 706 w 980"/>
                <a:gd name="T5" fmla="*/ 363 h 701"/>
                <a:gd name="T6" fmla="*/ 706 w 980"/>
                <a:gd name="T7" fmla="*/ 117 h 701"/>
                <a:gd name="T8" fmla="*/ 643 w 980"/>
                <a:gd name="T9" fmla="*/ 117 h 701"/>
                <a:gd name="T10" fmla="*/ 642 w 980"/>
                <a:gd name="T11" fmla="*/ 480 h 701"/>
                <a:gd name="T12" fmla="*/ 460 w 980"/>
                <a:gd name="T13" fmla="*/ 480 h 701"/>
                <a:gd name="T14" fmla="*/ 460 w 980"/>
                <a:gd name="T15" fmla="*/ 0 h 701"/>
                <a:gd name="T16" fmla="*/ 397 w 980"/>
                <a:gd name="T17" fmla="*/ 0 h 701"/>
                <a:gd name="T18" fmla="*/ 397 w 980"/>
                <a:gd name="T19" fmla="*/ 363 h 701"/>
                <a:gd name="T20" fmla="*/ 215 w 980"/>
                <a:gd name="T21" fmla="*/ 363 h 701"/>
                <a:gd name="T22" fmla="*/ 215 w 980"/>
                <a:gd name="T23" fmla="*/ 117 h 701"/>
                <a:gd name="T24" fmla="*/ 151 w 980"/>
                <a:gd name="T25" fmla="*/ 118 h 701"/>
                <a:gd name="T26" fmla="*/ 151 w 980"/>
                <a:gd name="T27" fmla="*/ 240 h 701"/>
                <a:gd name="T28" fmla="*/ 0 w 980"/>
                <a:gd name="T29" fmla="*/ 240 h 701"/>
                <a:gd name="T30" fmla="*/ 490 w 980"/>
                <a:gd name="T31" fmla="*/ 701 h 701"/>
                <a:gd name="T32" fmla="*/ 980 w 980"/>
                <a:gd name="T33" fmla="*/ 240 h 701"/>
                <a:gd name="T34" fmla="*/ 888 w 980"/>
                <a:gd name="T35" fmla="*/ 24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0" h="701">
                  <a:moveTo>
                    <a:pt x="888" y="240"/>
                  </a:moveTo>
                  <a:lnTo>
                    <a:pt x="888" y="363"/>
                  </a:lnTo>
                  <a:lnTo>
                    <a:pt x="706" y="363"/>
                  </a:lnTo>
                  <a:lnTo>
                    <a:pt x="706" y="117"/>
                  </a:lnTo>
                  <a:lnTo>
                    <a:pt x="643" y="117"/>
                  </a:lnTo>
                  <a:lnTo>
                    <a:pt x="642" y="480"/>
                  </a:lnTo>
                  <a:lnTo>
                    <a:pt x="460" y="480"/>
                  </a:lnTo>
                  <a:lnTo>
                    <a:pt x="460" y="0"/>
                  </a:lnTo>
                  <a:lnTo>
                    <a:pt x="397" y="0"/>
                  </a:lnTo>
                  <a:lnTo>
                    <a:pt x="397" y="363"/>
                  </a:lnTo>
                  <a:lnTo>
                    <a:pt x="215" y="363"/>
                  </a:lnTo>
                  <a:lnTo>
                    <a:pt x="215" y="117"/>
                  </a:lnTo>
                  <a:lnTo>
                    <a:pt x="151" y="118"/>
                  </a:lnTo>
                  <a:lnTo>
                    <a:pt x="151" y="240"/>
                  </a:lnTo>
                  <a:lnTo>
                    <a:pt x="0" y="240"/>
                  </a:lnTo>
                  <a:cubicBezTo>
                    <a:pt x="15" y="497"/>
                    <a:pt x="229" y="701"/>
                    <a:pt x="490" y="701"/>
                  </a:cubicBezTo>
                  <a:cubicBezTo>
                    <a:pt x="751" y="701"/>
                    <a:pt x="965" y="497"/>
                    <a:pt x="980" y="240"/>
                  </a:cubicBezTo>
                  <a:lnTo>
                    <a:pt x="888" y="24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0" name="Digitized">
              <a:extLst>
                <a:ext uri="{FF2B5EF4-FFF2-40B4-BE49-F238E27FC236}">
                  <a16:creationId xmlns:a16="http://schemas.microsoft.com/office/drawing/2014/main" id="{18C0D58C-D18A-4580-AC7D-C9C63C1A082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0" y="37"/>
              <a:ext cx="414" cy="297"/>
            </a:xfrm>
            <a:custGeom>
              <a:avLst/>
              <a:gdLst>
                <a:gd name="T0" fmla="*/ 91 w 980"/>
                <a:gd name="T1" fmla="*/ 461 h 701"/>
                <a:gd name="T2" fmla="*/ 92 w 980"/>
                <a:gd name="T3" fmla="*/ 340 h 701"/>
                <a:gd name="T4" fmla="*/ 274 w 980"/>
                <a:gd name="T5" fmla="*/ 338 h 701"/>
                <a:gd name="T6" fmla="*/ 274 w 980"/>
                <a:gd name="T7" fmla="*/ 584 h 701"/>
                <a:gd name="T8" fmla="*/ 337 w 980"/>
                <a:gd name="T9" fmla="*/ 584 h 701"/>
                <a:gd name="T10" fmla="*/ 337 w 980"/>
                <a:gd name="T11" fmla="*/ 221 h 701"/>
                <a:gd name="T12" fmla="*/ 520 w 980"/>
                <a:gd name="T13" fmla="*/ 221 h 701"/>
                <a:gd name="T14" fmla="*/ 520 w 980"/>
                <a:gd name="T15" fmla="*/ 701 h 701"/>
                <a:gd name="T16" fmla="*/ 582 w 980"/>
                <a:gd name="T17" fmla="*/ 701 h 701"/>
                <a:gd name="T18" fmla="*/ 583 w 980"/>
                <a:gd name="T19" fmla="*/ 338 h 701"/>
                <a:gd name="T20" fmla="*/ 765 w 980"/>
                <a:gd name="T21" fmla="*/ 338 h 701"/>
                <a:gd name="T22" fmla="*/ 765 w 980"/>
                <a:gd name="T23" fmla="*/ 584 h 701"/>
                <a:gd name="T24" fmla="*/ 828 w 980"/>
                <a:gd name="T25" fmla="*/ 584 h 701"/>
                <a:gd name="T26" fmla="*/ 828 w 980"/>
                <a:gd name="T27" fmla="*/ 461 h 701"/>
                <a:gd name="T28" fmla="*/ 980 w 980"/>
                <a:gd name="T29" fmla="*/ 461 h 701"/>
                <a:gd name="T30" fmla="*/ 490 w 980"/>
                <a:gd name="T31" fmla="*/ 0 h 701"/>
                <a:gd name="T32" fmla="*/ 0 w 980"/>
                <a:gd name="T33" fmla="*/ 461 h 701"/>
                <a:gd name="T34" fmla="*/ 91 w 980"/>
                <a:gd name="T35" fmla="*/ 461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0" h="701">
                  <a:moveTo>
                    <a:pt x="91" y="461"/>
                  </a:moveTo>
                  <a:lnTo>
                    <a:pt x="92" y="340"/>
                  </a:lnTo>
                  <a:lnTo>
                    <a:pt x="274" y="338"/>
                  </a:lnTo>
                  <a:lnTo>
                    <a:pt x="274" y="584"/>
                  </a:lnTo>
                  <a:lnTo>
                    <a:pt x="337" y="584"/>
                  </a:lnTo>
                  <a:lnTo>
                    <a:pt x="337" y="221"/>
                  </a:lnTo>
                  <a:lnTo>
                    <a:pt x="520" y="221"/>
                  </a:lnTo>
                  <a:lnTo>
                    <a:pt x="520" y="701"/>
                  </a:lnTo>
                  <a:lnTo>
                    <a:pt x="582" y="701"/>
                  </a:lnTo>
                  <a:lnTo>
                    <a:pt x="583" y="338"/>
                  </a:lnTo>
                  <a:lnTo>
                    <a:pt x="765" y="338"/>
                  </a:lnTo>
                  <a:lnTo>
                    <a:pt x="765" y="584"/>
                  </a:lnTo>
                  <a:lnTo>
                    <a:pt x="828" y="584"/>
                  </a:lnTo>
                  <a:lnTo>
                    <a:pt x="828" y="461"/>
                  </a:lnTo>
                  <a:lnTo>
                    <a:pt x="980" y="461"/>
                  </a:lnTo>
                  <a:cubicBezTo>
                    <a:pt x="965" y="204"/>
                    <a:pt x="751" y="0"/>
                    <a:pt x="490" y="0"/>
                  </a:cubicBezTo>
                  <a:cubicBezTo>
                    <a:pt x="229" y="0"/>
                    <a:pt x="15" y="204"/>
                    <a:pt x="0" y="461"/>
                  </a:cubicBezTo>
                  <a:lnTo>
                    <a:pt x="91" y="4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1" name="Develop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7B78A7-F2C1-4D69-9AA3-537E7773099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407706" y="4596765"/>
            <a:ext cx="677694" cy="542925"/>
            <a:chOff x="2216" y="843"/>
            <a:chExt cx="3168" cy="2538"/>
          </a:xfrm>
          <a:solidFill>
            <a:schemeClr val="accent1"/>
          </a:solidFill>
        </p:grpSpPr>
        <p:sp>
          <p:nvSpPr>
            <p:cNvPr id="122" name="Freeform 383">
              <a:extLst>
                <a:ext uri="{FF2B5EF4-FFF2-40B4-BE49-F238E27FC236}">
                  <a16:creationId xmlns:a16="http://schemas.microsoft.com/office/drawing/2014/main" id="{68DD8628-60C6-405B-8601-8402F4D14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0" y="843"/>
              <a:ext cx="1160" cy="2538"/>
            </a:xfrm>
            <a:custGeom>
              <a:avLst/>
              <a:gdLst>
                <a:gd name="T0" fmla="*/ 267 w 292"/>
                <a:gd name="T1" fmla="*/ 7 h 638"/>
                <a:gd name="T2" fmla="*/ 224 w 292"/>
                <a:gd name="T3" fmla="*/ 26 h 638"/>
                <a:gd name="T4" fmla="*/ 7 w 292"/>
                <a:gd name="T5" fmla="*/ 593 h 638"/>
                <a:gd name="T6" fmla="*/ 26 w 292"/>
                <a:gd name="T7" fmla="*/ 636 h 638"/>
                <a:gd name="T8" fmla="*/ 38 w 292"/>
                <a:gd name="T9" fmla="*/ 638 h 638"/>
                <a:gd name="T10" fmla="*/ 69 w 292"/>
                <a:gd name="T11" fmla="*/ 617 h 638"/>
                <a:gd name="T12" fmla="*/ 286 w 292"/>
                <a:gd name="T13" fmla="*/ 50 h 638"/>
                <a:gd name="T14" fmla="*/ 267 w 292"/>
                <a:gd name="T15" fmla="*/ 7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38">
                  <a:moveTo>
                    <a:pt x="267" y="7"/>
                  </a:moveTo>
                  <a:cubicBezTo>
                    <a:pt x="249" y="0"/>
                    <a:pt x="230" y="9"/>
                    <a:pt x="224" y="26"/>
                  </a:cubicBezTo>
                  <a:lnTo>
                    <a:pt x="7" y="593"/>
                  </a:lnTo>
                  <a:cubicBezTo>
                    <a:pt x="0" y="610"/>
                    <a:pt x="9" y="629"/>
                    <a:pt x="26" y="636"/>
                  </a:cubicBezTo>
                  <a:cubicBezTo>
                    <a:pt x="30" y="637"/>
                    <a:pt x="34" y="638"/>
                    <a:pt x="38" y="638"/>
                  </a:cubicBezTo>
                  <a:cubicBezTo>
                    <a:pt x="51" y="638"/>
                    <a:pt x="64" y="630"/>
                    <a:pt x="69" y="617"/>
                  </a:cubicBezTo>
                  <a:lnTo>
                    <a:pt x="286" y="50"/>
                  </a:lnTo>
                  <a:cubicBezTo>
                    <a:pt x="292" y="33"/>
                    <a:pt x="284" y="13"/>
                    <a:pt x="267" y="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384">
              <a:extLst>
                <a:ext uri="{FF2B5EF4-FFF2-40B4-BE49-F238E27FC236}">
                  <a16:creationId xmlns:a16="http://schemas.microsoft.com/office/drawing/2014/main" id="{77C406F8-2B05-4943-A95C-14052BCAA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" y="1440"/>
              <a:ext cx="1040" cy="1344"/>
            </a:xfrm>
            <a:custGeom>
              <a:avLst/>
              <a:gdLst>
                <a:gd name="T0" fmla="*/ 232 w 262"/>
                <a:gd name="T1" fmla="*/ 119 h 338"/>
                <a:gd name="T2" fmla="*/ 55 w 262"/>
                <a:gd name="T3" fmla="*/ 10 h 338"/>
                <a:gd name="T4" fmla="*/ 9 w 262"/>
                <a:gd name="T5" fmla="*/ 21 h 338"/>
                <a:gd name="T6" fmla="*/ 20 w 262"/>
                <a:gd name="T7" fmla="*/ 66 h 338"/>
                <a:gd name="T8" fmla="*/ 189 w 262"/>
                <a:gd name="T9" fmla="*/ 170 h 338"/>
                <a:gd name="T10" fmla="*/ 189 w 262"/>
                <a:gd name="T11" fmla="*/ 172 h 338"/>
                <a:gd name="T12" fmla="*/ 20 w 262"/>
                <a:gd name="T13" fmla="*/ 276 h 338"/>
                <a:gd name="T14" fmla="*/ 9 w 262"/>
                <a:gd name="T15" fmla="*/ 322 h 338"/>
                <a:gd name="T16" fmla="*/ 38 w 262"/>
                <a:gd name="T17" fmla="*/ 338 h 338"/>
                <a:gd name="T18" fmla="*/ 55 w 262"/>
                <a:gd name="T19" fmla="*/ 333 h 338"/>
                <a:gd name="T20" fmla="*/ 232 w 262"/>
                <a:gd name="T21" fmla="*/ 224 h 338"/>
                <a:gd name="T22" fmla="*/ 235 w 262"/>
                <a:gd name="T23" fmla="*/ 221 h 338"/>
                <a:gd name="T24" fmla="*/ 235 w 262"/>
                <a:gd name="T25" fmla="*/ 122 h 338"/>
                <a:gd name="T26" fmla="*/ 232 w 262"/>
                <a:gd name="T27" fmla="*/ 11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2" h="338">
                  <a:moveTo>
                    <a:pt x="232" y="119"/>
                  </a:moveTo>
                  <a:lnTo>
                    <a:pt x="55" y="10"/>
                  </a:lnTo>
                  <a:cubicBezTo>
                    <a:pt x="39" y="0"/>
                    <a:pt x="19" y="5"/>
                    <a:pt x="9" y="21"/>
                  </a:cubicBezTo>
                  <a:cubicBezTo>
                    <a:pt x="0" y="36"/>
                    <a:pt x="4" y="57"/>
                    <a:pt x="20" y="66"/>
                  </a:cubicBezTo>
                  <a:lnTo>
                    <a:pt x="189" y="170"/>
                  </a:lnTo>
                  <a:cubicBezTo>
                    <a:pt x="189" y="171"/>
                    <a:pt x="189" y="172"/>
                    <a:pt x="189" y="172"/>
                  </a:cubicBezTo>
                  <a:lnTo>
                    <a:pt x="20" y="276"/>
                  </a:lnTo>
                  <a:cubicBezTo>
                    <a:pt x="4" y="286"/>
                    <a:pt x="0" y="306"/>
                    <a:pt x="9" y="322"/>
                  </a:cubicBezTo>
                  <a:cubicBezTo>
                    <a:pt x="16" y="332"/>
                    <a:pt x="27" y="338"/>
                    <a:pt x="38" y="338"/>
                  </a:cubicBezTo>
                  <a:cubicBezTo>
                    <a:pt x="44" y="338"/>
                    <a:pt x="50" y="336"/>
                    <a:pt x="55" y="333"/>
                  </a:cubicBezTo>
                  <a:lnTo>
                    <a:pt x="232" y="224"/>
                  </a:lnTo>
                  <a:lnTo>
                    <a:pt x="235" y="221"/>
                  </a:lnTo>
                  <a:cubicBezTo>
                    <a:pt x="262" y="194"/>
                    <a:pt x="262" y="149"/>
                    <a:pt x="235" y="122"/>
                  </a:cubicBezTo>
                  <a:lnTo>
                    <a:pt x="23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385">
              <a:extLst>
                <a:ext uri="{FF2B5EF4-FFF2-40B4-BE49-F238E27FC236}">
                  <a16:creationId xmlns:a16="http://schemas.microsoft.com/office/drawing/2014/main" id="{1A6A2B46-3DFD-4641-BDE2-3E78517B5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6" y="1440"/>
              <a:ext cx="1044" cy="1344"/>
            </a:xfrm>
            <a:custGeom>
              <a:avLst/>
              <a:gdLst>
                <a:gd name="T0" fmla="*/ 242 w 263"/>
                <a:gd name="T1" fmla="*/ 276 h 338"/>
                <a:gd name="T2" fmla="*/ 74 w 263"/>
                <a:gd name="T3" fmla="*/ 172 h 338"/>
                <a:gd name="T4" fmla="*/ 74 w 263"/>
                <a:gd name="T5" fmla="*/ 170 h 338"/>
                <a:gd name="T6" fmla="*/ 242 w 263"/>
                <a:gd name="T7" fmla="*/ 66 h 338"/>
                <a:gd name="T8" fmla="*/ 253 w 263"/>
                <a:gd name="T9" fmla="*/ 21 h 338"/>
                <a:gd name="T10" fmla="*/ 208 w 263"/>
                <a:gd name="T11" fmla="*/ 10 h 338"/>
                <a:gd name="T12" fmla="*/ 30 w 263"/>
                <a:gd name="T13" fmla="*/ 119 h 338"/>
                <a:gd name="T14" fmla="*/ 28 w 263"/>
                <a:gd name="T15" fmla="*/ 122 h 338"/>
                <a:gd name="T16" fmla="*/ 28 w 263"/>
                <a:gd name="T17" fmla="*/ 221 h 338"/>
                <a:gd name="T18" fmla="*/ 30 w 263"/>
                <a:gd name="T19" fmla="*/ 224 h 338"/>
                <a:gd name="T20" fmla="*/ 208 w 263"/>
                <a:gd name="T21" fmla="*/ 333 h 338"/>
                <a:gd name="T22" fmla="*/ 225 w 263"/>
                <a:gd name="T23" fmla="*/ 338 h 338"/>
                <a:gd name="T24" fmla="*/ 253 w 263"/>
                <a:gd name="T25" fmla="*/ 322 h 338"/>
                <a:gd name="T26" fmla="*/ 242 w 263"/>
                <a:gd name="T27" fmla="*/ 27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3" h="338">
                  <a:moveTo>
                    <a:pt x="242" y="276"/>
                  </a:moveTo>
                  <a:lnTo>
                    <a:pt x="74" y="172"/>
                  </a:lnTo>
                  <a:cubicBezTo>
                    <a:pt x="74" y="172"/>
                    <a:pt x="74" y="171"/>
                    <a:pt x="74" y="170"/>
                  </a:cubicBezTo>
                  <a:lnTo>
                    <a:pt x="242" y="66"/>
                  </a:lnTo>
                  <a:cubicBezTo>
                    <a:pt x="258" y="57"/>
                    <a:pt x="263" y="36"/>
                    <a:pt x="253" y="21"/>
                  </a:cubicBezTo>
                  <a:cubicBezTo>
                    <a:pt x="244" y="5"/>
                    <a:pt x="223" y="0"/>
                    <a:pt x="208" y="10"/>
                  </a:cubicBezTo>
                  <a:lnTo>
                    <a:pt x="30" y="119"/>
                  </a:lnTo>
                  <a:lnTo>
                    <a:pt x="28" y="122"/>
                  </a:lnTo>
                  <a:cubicBezTo>
                    <a:pt x="0" y="149"/>
                    <a:pt x="0" y="194"/>
                    <a:pt x="28" y="221"/>
                  </a:cubicBezTo>
                  <a:lnTo>
                    <a:pt x="30" y="224"/>
                  </a:lnTo>
                  <a:lnTo>
                    <a:pt x="208" y="333"/>
                  </a:lnTo>
                  <a:cubicBezTo>
                    <a:pt x="213" y="336"/>
                    <a:pt x="219" y="338"/>
                    <a:pt x="225" y="338"/>
                  </a:cubicBezTo>
                  <a:cubicBezTo>
                    <a:pt x="236" y="338"/>
                    <a:pt x="247" y="332"/>
                    <a:pt x="253" y="322"/>
                  </a:cubicBezTo>
                  <a:cubicBezTo>
                    <a:pt x="263" y="306"/>
                    <a:pt x="258" y="286"/>
                    <a:pt x="242" y="2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7FD8CE02-160F-4D26-A184-6A47B5BA02D3}"/>
              </a:ext>
            </a:extLst>
          </p:cNvPr>
          <p:cNvSpPr txBox="1"/>
          <p:nvPr/>
        </p:nvSpPr>
        <p:spPr>
          <a:xfrm>
            <a:off x="5574556" y="4259209"/>
            <a:ext cx="295465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b="1" dirty="0"/>
              <a:t>Prepared By</a:t>
            </a:r>
            <a:r>
              <a:rPr lang="en-CA" dirty="0"/>
              <a:t>:</a:t>
            </a:r>
          </a:p>
          <a:p>
            <a:r>
              <a:rPr lang="en-CA" dirty="0"/>
              <a:t>Ahmad Barakat 	</a:t>
            </a:r>
          </a:p>
          <a:p>
            <a:r>
              <a:rPr lang="en-CA" dirty="0" err="1"/>
              <a:t>Pruthvi</a:t>
            </a:r>
            <a:r>
              <a:rPr lang="en-CA" dirty="0"/>
              <a:t> </a:t>
            </a:r>
            <a:r>
              <a:rPr lang="en-CA" dirty="0" err="1"/>
              <a:t>Ingole</a:t>
            </a:r>
            <a:r>
              <a:rPr lang="en-CA" dirty="0"/>
              <a:t> 		</a:t>
            </a:r>
          </a:p>
          <a:p>
            <a:r>
              <a:rPr lang="en-CA" dirty="0"/>
              <a:t>Roshan </a:t>
            </a:r>
            <a:r>
              <a:rPr lang="en-CA" dirty="0" err="1"/>
              <a:t>Issac</a:t>
            </a:r>
            <a:r>
              <a:rPr lang="en-CA" dirty="0"/>
              <a:t> 		</a:t>
            </a:r>
          </a:p>
          <a:p>
            <a:r>
              <a:rPr lang="en-CA" dirty="0"/>
              <a:t>Monika </a:t>
            </a:r>
            <a:r>
              <a:rPr lang="en-CA" dirty="0" err="1"/>
              <a:t>Slominski</a:t>
            </a:r>
            <a:r>
              <a:rPr lang="en-CA" dirty="0"/>
              <a:t> 	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2725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A2A2B1A-582F-9143-8906-CC3403C0CD4A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5D587FF-789F-524E-AFA4-73E3C5BDC2A8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1EA7B08-BEEA-CD4B-A0BE-DE2778D70E54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227A0B7-4026-1746-AD60-709F8FE0C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C173F3-375A-DD49-9B2C-699C9A689B5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32275" y="292100"/>
            <a:ext cx="3727450" cy="895350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+mn-lt"/>
              </a:rPr>
              <a:t>TABLE OF </a:t>
            </a:r>
            <a:r>
              <a:rPr lang="en-US" sz="3200" dirty="0">
                <a:solidFill>
                  <a:schemeClr val="tx2"/>
                </a:solidFill>
              </a:rPr>
              <a:t>CONT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641EE6B-4270-3446-8778-38CAA6F90C20}"/>
              </a:ext>
            </a:extLst>
          </p:cNvPr>
          <p:cNvSpPr txBox="1"/>
          <p:nvPr/>
        </p:nvSpPr>
        <p:spPr>
          <a:xfrm>
            <a:off x="551154" y="1508644"/>
            <a:ext cx="3391441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Int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Project Method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Project Schedu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Model Archite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Solution Develop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1"/>
                </a:solidFill>
              </a:rPr>
              <a:t>Solution Deploy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accent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accent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F5FA01E-847F-1E43-AD92-A347A6F31018}"/>
              </a:ext>
            </a:extLst>
          </p:cNvPr>
          <p:cNvCxnSpPr>
            <a:cxnSpLocks/>
          </p:cNvCxnSpPr>
          <p:nvPr/>
        </p:nvCxnSpPr>
        <p:spPr>
          <a:xfrm>
            <a:off x="2667000" y="1817898"/>
            <a:ext cx="8109857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AC71754-E84B-7A43-BA6C-6A7F2B1A1F70}"/>
              </a:ext>
            </a:extLst>
          </p:cNvPr>
          <p:cNvCxnSpPr>
            <a:cxnSpLocks/>
          </p:cNvCxnSpPr>
          <p:nvPr/>
        </p:nvCxnSpPr>
        <p:spPr>
          <a:xfrm>
            <a:off x="3718560" y="2182857"/>
            <a:ext cx="7058297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5849F27-B4F1-0944-B10C-86A8B26011D2}"/>
              </a:ext>
            </a:extLst>
          </p:cNvPr>
          <p:cNvCxnSpPr>
            <a:cxnSpLocks/>
          </p:cNvCxnSpPr>
          <p:nvPr/>
        </p:nvCxnSpPr>
        <p:spPr>
          <a:xfrm>
            <a:off x="3509433" y="2896565"/>
            <a:ext cx="7267424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6AFE93-E91D-AA4D-B6E5-9219B514602B}"/>
              </a:ext>
            </a:extLst>
          </p:cNvPr>
          <p:cNvCxnSpPr>
            <a:cxnSpLocks/>
          </p:cNvCxnSpPr>
          <p:nvPr/>
        </p:nvCxnSpPr>
        <p:spPr>
          <a:xfrm>
            <a:off x="3883152" y="3266252"/>
            <a:ext cx="6893705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E22CDDE-5052-484A-BFA4-03B3DD279C09}"/>
              </a:ext>
            </a:extLst>
          </p:cNvPr>
          <p:cNvCxnSpPr>
            <a:cxnSpLocks/>
          </p:cNvCxnSpPr>
          <p:nvPr/>
        </p:nvCxnSpPr>
        <p:spPr>
          <a:xfrm>
            <a:off x="3718560" y="3654533"/>
            <a:ext cx="7058297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1E19B71-5594-4546-8F08-2120D5B22054}"/>
              </a:ext>
            </a:extLst>
          </p:cNvPr>
          <p:cNvSpPr txBox="1"/>
          <p:nvPr/>
        </p:nvSpPr>
        <p:spPr>
          <a:xfrm>
            <a:off x="10823563" y="1508644"/>
            <a:ext cx="34015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3</a:t>
            </a:r>
          </a:p>
          <a:p>
            <a:r>
              <a:rPr lang="en-US" sz="2400" b="1" dirty="0">
                <a:solidFill>
                  <a:schemeClr val="accent1"/>
                </a:solidFill>
              </a:rPr>
              <a:t>4</a:t>
            </a:r>
          </a:p>
          <a:p>
            <a:r>
              <a:rPr lang="en-US" sz="2400" b="1" dirty="0">
                <a:solidFill>
                  <a:schemeClr val="accent1"/>
                </a:solidFill>
              </a:rPr>
              <a:t>5</a:t>
            </a:r>
          </a:p>
          <a:p>
            <a:r>
              <a:rPr lang="en-US" sz="2400" b="1" dirty="0">
                <a:solidFill>
                  <a:schemeClr val="accent1"/>
                </a:solidFill>
              </a:rPr>
              <a:t>6</a:t>
            </a:r>
          </a:p>
          <a:p>
            <a:r>
              <a:rPr lang="en-US" sz="2400" b="1" dirty="0">
                <a:solidFill>
                  <a:schemeClr val="accent1"/>
                </a:solidFill>
              </a:rPr>
              <a:t>7</a:t>
            </a:r>
          </a:p>
          <a:p>
            <a:r>
              <a:rPr lang="en-US" sz="2400" b="1" dirty="0">
                <a:solidFill>
                  <a:schemeClr val="accent1"/>
                </a:solidFill>
              </a:rPr>
              <a:t>8</a:t>
            </a:r>
            <a:endParaRPr lang="en-US" sz="2000" b="1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7162913-8DB5-2948-A60A-D3E8B7A12DEC}"/>
              </a:ext>
            </a:extLst>
          </p:cNvPr>
          <p:cNvGrpSpPr>
            <a:grpSpLocks noChangeAspect="1"/>
          </p:cNvGrpSpPr>
          <p:nvPr/>
        </p:nvGrpSpPr>
        <p:grpSpPr>
          <a:xfrm>
            <a:off x="5977930" y="1269161"/>
            <a:ext cx="236140" cy="62506"/>
            <a:chOff x="2737254" y="3112593"/>
            <a:chExt cx="506185" cy="133990"/>
          </a:xfrm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56AD02B5-1639-C144-8F43-58C995A4F2D4}"/>
                </a:ext>
              </a:extLst>
            </p:cNvPr>
            <p:cNvSpPr/>
            <p:nvPr/>
          </p:nvSpPr>
          <p:spPr>
            <a:xfrm>
              <a:off x="2737254" y="3112593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B8F0B5AC-F803-B34C-B61D-BD774D98B86A}"/>
                </a:ext>
              </a:extLst>
            </p:cNvPr>
            <p:cNvSpPr/>
            <p:nvPr/>
          </p:nvSpPr>
          <p:spPr>
            <a:xfrm>
              <a:off x="2923352" y="3112593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484BDB6F-3889-B44E-AA9A-4E5BB56B0841}"/>
                </a:ext>
              </a:extLst>
            </p:cNvPr>
            <p:cNvSpPr/>
            <p:nvPr/>
          </p:nvSpPr>
          <p:spPr>
            <a:xfrm>
              <a:off x="3109449" y="3112593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5DECE06-2804-4A03-90ED-12FBB345C29C}"/>
              </a:ext>
            </a:extLst>
          </p:cNvPr>
          <p:cNvCxnSpPr>
            <a:cxnSpLocks/>
          </p:cNvCxnSpPr>
          <p:nvPr/>
        </p:nvCxnSpPr>
        <p:spPr>
          <a:xfrm>
            <a:off x="3133344" y="2549093"/>
            <a:ext cx="7643513" cy="0"/>
          </a:xfrm>
          <a:prstGeom prst="line">
            <a:avLst/>
          </a:prstGeom>
          <a:ln w="31750" cap="rnd">
            <a:solidFill>
              <a:schemeClr val="tx1">
                <a:alpha val="45000"/>
              </a:schemeClr>
            </a:solidFill>
            <a:prstDash val="sysDot"/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46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food, people, table, flying&#10;&#10;Description automatically generated">
            <a:extLst>
              <a:ext uri="{FF2B5EF4-FFF2-40B4-BE49-F238E27FC236}">
                <a16:creationId xmlns:a16="http://schemas.microsoft.com/office/drawing/2014/main" id="{36D17910-C2F6-4750-951A-667BBD4FEC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3984" r="23984"/>
          <a:stretch>
            <a:fillRect/>
          </a:stretch>
        </p:blipFill>
        <p:spPr>
          <a:xfrm>
            <a:off x="0" y="10160"/>
            <a:ext cx="6096000" cy="6858001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C4C01A4-08EE-DC4E-BB8E-062CAC091967}"/>
              </a:ext>
            </a:extLst>
          </p:cNvPr>
          <p:cNvSpPr/>
          <p:nvPr/>
        </p:nvSpPr>
        <p:spPr>
          <a:xfrm>
            <a:off x="301690" y="339401"/>
            <a:ext cx="5492620" cy="617919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>
                  <a:alpha val="7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3B596F-28A4-CD4F-AFB1-B19689435B95}"/>
              </a:ext>
            </a:extLst>
          </p:cNvPr>
          <p:cNvSpPr txBox="1"/>
          <p:nvPr/>
        </p:nvSpPr>
        <p:spPr>
          <a:xfrm flipH="1">
            <a:off x="6397689" y="1212233"/>
            <a:ext cx="557153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360 utilizes Natural Language Processing (NLP) to cluster customers and classify if a customer is happy, neutral or angry, and be able to match a customer service representative to keep the customer pleased. In a nutshell this project is not utilizing AI to replace customer support teams but using AI technology to make customer support more effective, and data driven. </a:t>
            </a:r>
          </a:p>
          <a:p>
            <a:pPr algn="just"/>
            <a:endParaRPr lang="en-US" sz="16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just"/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360 aims to help solution business owners and decision makers to: </a:t>
            </a:r>
          </a:p>
          <a:p>
            <a:pPr algn="just"/>
            <a:endParaRPr lang="en-US" sz="16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Gain better insights and understand the factors that influence the customer opinions about a product and/or a service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nhance customer service processes by bringing customer feedback from multiple channels, into a single data lake to analyze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liminate the time required to analyze customer sentiment and provide decision makers with real time insight on customer analytics.</a:t>
            </a:r>
          </a:p>
          <a:p>
            <a:pPr algn="just"/>
            <a:endParaRPr lang="en-US" sz="1600" dirty="0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3A52C02-EFFB-1F4D-8128-45230160CAA1}"/>
              </a:ext>
            </a:extLst>
          </p:cNvPr>
          <p:cNvSpPr txBox="1"/>
          <p:nvPr/>
        </p:nvSpPr>
        <p:spPr>
          <a:xfrm>
            <a:off x="1097530" y="1905506"/>
            <a:ext cx="390094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b="1" dirty="0" err="1">
                <a:solidFill>
                  <a:srgbClr val="FFFFFF"/>
                </a:solidFill>
              </a:rPr>
              <a:t>Sentalyzer</a:t>
            </a:r>
            <a:r>
              <a:rPr lang="en-US" sz="4800" b="1" dirty="0">
                <a:solidFill>
                  <a:srgbClr val="FFFFFF"/>
                </a:solidFill>
              </a:rPr>
              <a:t> 36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0B13931-0BB4-A24E-B4ED-C9A8A603A080}"/>
              </a:ext>
            </a:extLst>
          </p:cNvPr>
          <p:cNvSpPr txBox="1"/>
          <p:nvPr/>
        </p:nvSpPr>
        <p:spPr>
          <a:xfrm flipH="1">
            <a:off x="1097530" y="2745473"/>
            <a:ext cx="39009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n Intelligent Customer Support and Feedback System With Sentimental Analysi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3621558-D7BE-D947-8E31-18D748B0C8D8}"/>
              </a:ext>
            </a:extLst>
          </p:cNvPr>
          <p:cNvSpPr/>
          <p:nvPr/>
        </p:nvSpPr>
        <p:spPr>
          <a:xfrm>
            <a:off x="7054776" y="298500"/>
            <a:ext cx="391523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rPr>
              <a:t>EXECUTIVE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SUMMARY</a:t>
            </a: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1B4E6CB7-8EA1-F34D-B356-C27D04B76545}"/>
              </a:ext>
            </a:extLst>
          </p:cNvPr>
          <p:cNvGrpSpPr>
            <a:grpSpLocks noChangeAspect="1"/>
          </p:cNvGrpSpPr>
          <p:nvPr/>
        </p:nvGrpSpPr>
        <p:grpSpPr>
          <a:xfrm>
            <a:off x="8894325" y="1134569"/>
            <a:ext cx="236140" cy="62506"/>
            <a:chOff x="3469621" y="1357388"/>
            <a:chExt cx="506185" cy="133990"/>
          </a:xfrm>
        </p:grpSpPr>
        <p:sp>
          <p:nvSpPr>
            <p:cNvPr id="190" name="Rounded Rectangle 189">
              <a:extLst>
                <a:ext uri="{FF2B5EF4-FFF2-40B4-BE49-F238E27FC236}">
                  <a16:creationId xmlns:a16="http://schemas.microsoft.com/office/drawing/2014/main" id="{2113FE91-3340-854A-B18F-AE0B4C01C61C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ounded Rectangle 190">
              <a:extLst>
                <a:ext uri="{FF2B5EF4-FFF2-40B4-BE49-F238E27FC236}">
                  <a16:creationId xmlns:a16="http://schemas.microsoft.com/office/drawing/2014/main" id="{6AEC2565-7DC7-094D-B16A-6DAF662B518B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ounded Rectangle 191">
              <a:extLst>
                <a:ext uri="{FF2B5EF4-FFF2-40B4-BE49-F238E27FC236}">
                  <a16:creationId xmlns:a16="http://schemas.microsoft.com/office/drawing/2014/main" id="{A140ABD9-4EF0-2546-B7C1-D86D5ED20295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EB66D59A-DD66-4652-A982-F6FE1355187B}"/>
              </a:ext>
            </a:extLst>
          </p:cNvPr>
          <p:cNvSpPr/>
          <p:nvPr/>
        </p:nvSpPr>
        <p:spPr>
          <a:xfrm>
            <a:off x="627387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2B4617B-ECDF-4F5B-BBD6-8CD753DA3F68}"/>
              </a:ext>
            </a:extLst>
          </p:cNvPr>
          <p:cNvSpPr/>
          <p:nvPr/>
        </p:nvSpPr>
        <p:spPr>
          <a:xfrm>
            <a:off x="761097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920CC7-B5E4-4D91-A8E6-EB57C98F0B2C}"/>
              </a:ext>
            </a:extLst>
          </p:cNvPr>
          <p:cNvSpPr txBox="1"/>
          <p:nvPr/>
        </p:nvSpPr>
        <p:spPr>
          <a:xfrm>
            <a:off x="654235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6" name="Slide Number Placeholder 16">
            <a:extLst>
              <a:ext uri="{FF2B5EF4-FFF2-40B4-BE49-F238E27FC236}">
                <a16:creationId xmlns:a16="http://schemas.microsoft.com/office/drawing/2014/main" id="{DCB9B969-4CB4-46D7-8E06-427354327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5205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75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4191E93-4FAF-A142-946D-68258B55021F}"/>
              </a:ext>
            </a:extLst>
          </p:cNvPr>
          <p:cNvSpPr/>
          <p:nvPr/>
        </p:nvSpPr>
        <p:spPr>
          <a:xfrm>
            <a:off x="801078" y="359766"/>
            <a:ext cx="41431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99000">
                      <a:schemeClr val="accent3">
                        <a:alpha val="69000"/>
                      </a:schemeClr>
                    </a:gs>
                  </a:gsLst>
                  <a:lin ang="0" scaled="1"/>
                </a:gradFill>
              </a:rPr>
              <a:t>PROJECT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METHDOLOGY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A53F5B5-F413-924C-8589-A8BA43BCC68D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1E13B59-975B-DB4A-84A0-FB43E0D4424A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EC7627-FEC9-4040-A288-F3C3F9D5F930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5E5166F9-0F99-134A-9F17-4ACD84433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397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6E09CA8-418E-8C42-BD25-8E6694903BEB}"/>
              </a:ext>
            </a:extLst>
          </p:cNvPr>
          <p:cNvGrpSpPr>
            <a:grpSpLocks noChangeAspect="1"/>
          </p:cNvGrpSpPr>
          <p:nvPr/>
        </p:nvGrpSpPr>
        <p:grpSpPr>
          <a:xfrm>
            <a:off x="952293" y="1120564"/>
            <a:ext cx="236140" cy="62506"/>
            <a:chOff x="3469621" y="1357388"/>
            <a:chExt cx="506185" cy="133990"/>
          </a:xfrm>
        </p:grpSpPr>
        <p:sp>
          <p:nvSpPr>
            <p:cNvPr id="107" name="Rounded Rectangle 106">
              <a:extLst>
                <a:ext uri="{FF2B5EF4-FFF2-40B4-BE49-F238E27FC236}">
                  <a16:creationId xmlns:a16="http://schemas.microsoft.com/office/drawing/2014/main" id="{27B9E375-ABFD-804C-AF29-643EFCD4101D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A702B0A-F812-3347-AB57-A1BEBC802D9A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ounded Rectangle 108">
              <a:extLst>
                <a:ext uri="{FF2B5EF4-FFF2-40B4-BE49-F238E27FC236}">
                  <a16:creationId xmlns:a16="http://schemas.microsoft.com/office/drawing/2014/main" id="{17D325E1-9ABC-0147-B295-92C6347E314B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DACAB2A-FB97-4E70-9870-524958117134}"/>
              </a:ext>
            </a:extLst>
          </p:cNvPr>
          <p:cNvGrpSpPr/>
          <p:nvPr/>
        </p:nvGrpSpPr>
        <p:grpSpPr>
          <a:xfrm>
            <a:off x="3346167" y="1359092"/>
            <a:ext cx="2520000" cy="4801163"/>
            <a:chOff x="2427353" y="1359093"/>
            <a:chExt cx="2160001" cy="4801163"/>
          </a:xfrm>
        </p:grpSpPr>
        <p:sp>
          <p:nvSpPr>
            <p:cNvPr id="43" name="Arrow: Pentagon 42">
              <a:extLst>
                <a:ext uri="{FF2B5EF4-FFF2-40B4-BE49-F238E27FC236}">
                  <a16:creationId xmlns:a16="http://schemas.microsoft.com/office/drawing/2014/main" id="{8EFBEBBD-B47C-4E75-959A-5679A2C8D004}"/>
                </a:ext>
              </a:extLst>
            </p:cNvPr>
            <p:cNvSpPr/>
            <p:nvPr/>
          </p:nvSpPr>
          <p:spPr>
            <a:xfrm>
              <a:off x="2427354" y="1359093"/>
              <a:ext cx="2160000" cy="456749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b="1" dirty="0"/>
                <a:t>Phase 2: Data Collection and Preparatio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34134D7-7CE5-4058-9D69-DD7FE4EE0E8C}"/>
                </a:ext>
              </a:extLst>
            </p:cNvPr>
            <p:cNvSpPr/>
            <p:nvPr/>
          </p:nvSpPr>
          <p:spPr>
            <a:xfrm>
              <a:off x="2427354" y="1900663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2.1 Data Collection 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5988E0F7-F4D5-4F35-AE1D-50B870923A3F}"/>
                </a:ext>
              </a:extLst>
            </p:cNvPr>
            <p:cNvSpPr/>
            <p:nvPr/>
          </p:nvSpPr>
          <p:spPr>
            <a:xfrm>
              <a:off x="2427354" y="2149163"/>
              <a:ext cx="2160000" cy="997131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dentify data source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llect data and search for datase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xamine and analyze datase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lect datasets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40DD68A-4C16-451C-9B7F-DEBC54125F44}"/>
                </a:ext>
              </a:extLst>
            </p:cNvPr>
            <p:cNvSpPr/>
            <p:nvPr/>
          </p:nvSpPr>
          <p:spPr>
            <a:xfrm>
              <a:off x="2427353" y="3179853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2.1 Data Preparation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E499768-89EB-4137-A3AB-097011E50534}"/>
                </a:ext>
              </a:extLst>
            </p:cNvPr>
            <p:cNvSpPr/>
            <p:nvPr/>
          </p:nvSpPr>
          <p:spPr>
            <a:xfrm>
              <a:off x="2427353" y="3428353"/>
              <a:ext cx="2160000" cy="2731903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ssesses the condition of the data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ctify and handle missing data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ransform data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ormalize data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ean and encode data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xtract data feature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ransform data feature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lect data feature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AFF9D5C-2E7B-416D-BC29-F1C0496A64A9}"/>
              </a:ext>
            </a:extLst>
          </p:cNvPr>
          <p:cNvGrpSpPr/>
          <p:nvPr/>
        </p:nvGrpSpPr>
        <p:grpSpPr>
          <a:xfrm>
            <a:off x="657041" y="1359092"/>
            <a:ext cx="2520000" cy="4796513"/>
            <a:chOff x="657041" y="1359093"/>
            <a:chExt cx="2160000" cy="4796513"/>
          </a:xfrm>
        </p:grpSpPr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4211D5D1-52F6-4AAA-97E4-79A490D9EB46}"/>
                </a:ext>
              </a:extLst>
            </p:cNvPr>
            <p:cNvSpPr/>
            <p:nvPr/>
          </p:nvSpPr>
          <p:spPr>
            <a:xfrm>
              <a:off x="657041" y="1359093"/>
              <a:ext cx="2160000" cy="456749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b="1" dirty="0"/>
                <a:t>Phase 1: Project Defini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591A16F-86BF-4358-8006-068B8B86D011}"/>
                </a:ext>
              </a:extLst>
            </p:cNvPr>
            <p:cNvSpPr/>
            <p:nvPr/>
          </p:nvSpPr>
          <p:spPr>
            <a:xfrm>
              <a:off x="657041" y="1900663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1.1 Problem Definition 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236F2AA-85CA-4609-8261-DACC8D64654E}"/>
                </a:ext>
              </a:extLst>
            </p:cNvPr>
            <p:cNvSpPr/>
            <p:nvPr/>
          </p:nvSpPr>
          <p:spPr>
            <a:xfrm>
              <a:off x="657041" y="2149164"/>
              <a:ext cx="2160000" cy="801910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ecify business problem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dentify AI use case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fine problem scope;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6199BCE-1C70-40C0-89C4-6E1C037E3F99}"/>
                </a:ext>
              </a:extLst>
            </p:cNvPr>
            <p:cNvSpPr/>
            <p:nvPr/>
          </p:nvSpPr>
          <p:spPr>
            <a:xfrm>
              <a:off x="657041" y="3666475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1.3 Project Requirement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EF72297-787F-4CE4-8A94-C08C0F49CAF8}"/>
                </a:ext>
              </a:extLst>
            </p:cNvPr>
            <p:cNvSpPr/>
            <p:nvPr/>
          </p:nvSpPr>
          <p:spPr>
            <a:xfrm>
              <a:off x="657041" y="3914975"/>
              <a:ext cx="2160000" cy="1227614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dentify business and technical requiremen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termine data requiremen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dentify data sources and data collection methodolog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431F916-28AE-4812-A494-58C630AF2826}"/>
                </a:ext>
              </a:extLst>
            </p:cNvPr>
            <p:cNvSpPr/>
            <p:nvPr/>
          </p:nvSpPr>
          <p:spPr>
            <a:xfrm>
              <a:off x="657041" y="5172640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1.4 Data Requirement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70E2AA2-7EDF-42E7-BA6B-1A983176B54E}"/>
                </a:ext>
              </a:extLst>
            </p:cNvPr>
            <p:cNvSpPr/>
            <p:nvPr/>
          </p:nvSpPr>
          <p:spPr>
            <a:xfrm>
              <a:off x="657041" y="5421140"/>
              <a:ext cx="2160000" cy="734466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termine data requiremen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sign data for the model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770D856A-F966-4D7B-B195-3BBB4EAE33A2}"/>
                </a:ext>
              </a:extLst>
            </p:cNvPr>
            <p:cNvSpPr/>
            <p:nvPr/>
          </p:nvSpPr>
          <p:spPr>
            <a:xfrm>
              <a:off x="657041" y="2985565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1.2 Solution Architecture  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7D2EDFC-2F1F-4768-82C1-BE64C36C20DF}"/>
                </a:ext>
              </a:extLst>
            </p:cNvPr>
            <p:cNvSpPr/>
            <p:nvPr/>
          </p:nvSpPr>
          <p:spPr>
            <a:xfrm>
              <a:off x="657041" y="3234066"/>
              <a:ext cx="2160000" cy="397918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sign a high level solution architecture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65CA5A3-6FA3-4077-A2D3-B3E046D97900}"/>
              </a:ext>
            </a:extLst>
          </p:cNvPr>
          <p:cNvGrpSpPr/>
          <p:nvPr/>
        </p:nvGrpSpPr>
        <p:grpSpPr>
          <a:xfrm>
            <a:off x="6035293" y="1359092"/>
            <a:ext cx="2520000" cy="4796513"/>
            <a:chOff x="4476372" y="1359093"/>
            <a:chExt cx="1880486" cy="4796513"/>
          </a:xfrm>
        </p:grpSpPr>
        <p:sp>
          <p:nvSpPr>
            <p:cNvPr id="56" name="Arrow: Pentagon 55">
              <a:extLst>
                <a:ext uri="{FF2B5EF4-FFF2-40B4-BE49-F238E27FC236}">
                  <a16:creationId xmlns:a16="http://schemas.microsoft.com/office/drawing/2014/main" id="{DA010B12-B012-4219-A227-97E4BDAD9FD4}"/>
                </a:ext>
              </a:extLst>
            </p:cNvPr>
            <p:cNvSpPr/>
            <p:nvPr/>
          </p:nvSpPr>
          <p:spPr>
            <a:xfrm>
              <a:off x="4476372" y="1359093"/>
              <a:ext cx="1880486" cy="456749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b="1" dirty="0"/>
                <a:t>Phase 3: Model Development 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589D3EF-0FC4-4BAC-834E-9617372C0147}"/>
                </a:ext>
              </a:extLst>
            </p:cNvPr>
            <p:cNvSpPr/>
            <p:nvPr/>
          </p:nvSpPr>
          <p:spPr>
            <a:xfrm>
              <a:off x="4476373" y="1900663"/>
              <a:ext cx="1880485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3.1 Data Segregation  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5E99CE7-153E-4658-B665-4B39350EE62A}"/>
                </a:ext>
              </a:extLst>
            </p:cNvPr>
            <p:cNvSpPr/>
            <p:nvPr/>
          </p:nvSpPr>
          <p:spPr>
            <a:xfrm>
              <a:off x="4476373" y="2149163"/>
              <a:ext cx="1880485" cy="997131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lect and set an evaluation protocol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lit datasets into subse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huffle the records within each subse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03554286-B2BA-43B5-B2A7-EE929BE25153}"/>
                </a:ext>
              </a:extLst>
            </p:cNvPr>
            <p:cNvSpPr/>
            <p:nvPr/>
          </p:nvSpPr>
          <p:spPr>
            <a:xfrm>
              <a:off x="4476373" y="3174444"/>
              <a:ext cx="1880485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3.2 Model Development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CF7B43C5-4344-49BC-A02E-A6BA32EA6CD4}"/>
                </a:ext>
              </a:extLst>
            </p:cNvPr>
            <p:cNvSpPr/>
            <p:nvPr/>
          </p:nvSpPr>
          <p:spPr>
            <a:xfrm>
              <a:off x="4476373" y="3422944"/>
              <a:ext cx="1880485" cy="911320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nalyze and define algorithm to be used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termine algorithm requirement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velop and architect model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33F572F-AD44-46DC-A705-BF4EB1375FE9}"/>
                </a:ext>
              </a:extLst>
            </p:cNvPr>
            <p:cNvSpPr/>
            <p:nvPr/>
          </p:nvSpPr>
          <p:spPr>
            <a:xfrm>
              <a:off x="4476373" y="4361682"/>
              <a:ext cx="1880485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3.3 Model Evaluation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9375E461-8ACE-41FF-A517-40B55212A2F4}"/>
                </a:ext>
              </a:extLst>
            </p:cNvPr>
            <p:cNvSpPr/>
            <p:nvPr/>
          </p:nvSpPr>
          <p:spPr>
            <a:xfrm>
              <a:off x="4476373" y="4610182"/>
              <a:ext cx="1880485" cy="1545424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rain Model using the train data subset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mpare prediction against true values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fine model(s)/architecture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est and assess the performance of the model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lect the best model to be deployed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859B6E1-A619-4202-80E2-D41E665D0244}"/>
              </a:ext>
            </a:extLst>
          </p:cNvPr>
          <p:cNvGrpSpPr/>
          <p:nvPr/>
        </p:nvGrpSpPr>
        <p:grpSpPr>
          <a:xfrm>
            <a:off x="8724420" y="1359092"/>
            <a:ext cx="2520000" cy="4801162"/>
            <a:chOff x="9374958" y="1359092"/>
            <a:chExt cx="2160000" cy="4801162"/>
          </a:xfrm>
        </p:grpSpPr>
        <p:sp>
          <p:nvSpPr>
            <p:cNvPr id="59" name="Arrow: Pentagon 58">
              <a:extLst>
                <a:ext uri="{FF2B5EF4-FFF2-40B4-BE49-F238E27FC236}">
                  <a16:creationId xmlns:a16="http://schemas.microsoft.com/office/drawing/2014/main" id="{C4258306-7A64-42E3-832F-41C564C99613}"/>
                </a:ext>
              </a:extLst>
            </p:cNvPr>
            <p:cNvSpPr/>
            <p:nvPr/>
          </p:nvSpPr>
          <p:spPr>
            <a:xfrm>
              <a:off x="9374958" y="1359092"/>
              <a:ext cx="2160000" cy="456749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200" b="1" dirty="0"/>
                <a:t>Phase 4: Solution Deployment 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BF04E0E-3750-4D79-90C5-3AA77F8EA9B6}"/>
                </a:ext>
              </a:extLst>
            </p:cNvPr>
            <p:cNvSpPr/>
            <p:nvPr/>
          </p:nvSpPr>
          <p:spPr>
            <a:xfrm>
              <a:off x="9374958" y="1900662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4.1 Deployment Requirement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4C9DF09A-9329-47EA-8C69-4072E49D38B4}"/>
                </a:ext>
              </a:extLst>
            </p:cNvPr>
            <p:cNvSpPr/>
            <p:nvPr/>
          </p:nvSpPr>
          <p:spPr>
            <a:xfrm>
              <a:off x="9374958" y="2149163"/>
              <a:ext cx="2160000" cy="1482820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fine deployment strategy (</a:t>
              </a:r>
              <a:r>
                <a:rPr lang="en-CA" sz="1000" kern="0" dirty="0" err="1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.e</a:t>
              </a: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on premises vs on cloud)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f Cloud, Assess and select cloud platform provider (</a:t>
              </a:r>
              <a:r>
                <a:rPr lang="en-CA" sz="1000" kern="0" dirty="0" err="1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.e</a:t>
              </a: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AWS, Azure, or Google)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termine data pipeline and data integration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termine security requirements; 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6C1201C-4598-4339-BFD9-693E717131AB}"/>
                </a:ext>
              </a:extLst>
            </p:cNvPr>
            <p:cNvSpPr/>
            <p:nvPr/>
          </p:nvSpPr>
          <p:spPr>
            <a:xfrm>
              <a:off x="9374958" y="4693352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4.3 Model Deployment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4935F89B-0010-43D8-8C00-7B0186A77D8E}"/>
                </a:ext>
              </a:extLst>
            </p:cNvPr>
            <p:cNvSpPr/>
            <p:nvPr/>
          </p:nvSpPr>
          <p:spPr>
            <a:xfrm>
              <a:off x="9374958" y="4941853"/>
              <a:ext cx="2160000" cy="1218401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ransform and configure ML model and code to compile with cloud platform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reate an endpoint configuration for an HTTPS endpoint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reate an HTTPS endpoint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EFC5C45-B5B7-46BE-901D-216613C12581}"/>
                </a:ext>
              </a:extLst>
            </p:cNvPr>
            <p:cNvSpPr/>
            <p:nvPr/>
          </p:nvSpPr>
          <p:spPr>
            <a:xfrm>
              <a:off x="9374958" y="3666473"/>
              <a:ext cx="2160000" cy="2485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000" dirty="0"/>
                <a:t>4.2 Deployment Roadmap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CCAE0C1-74D6-43B3-AA39-7C8461B2C769}"/>
                </a:ext>
              </a:extLst>
            </p:cNvPr>
            <p:cNvSpPr/>
            <p:nvPr/>
          </p:nvSpPr>
          <p:spPr>
            <a:xfrm>
              <a:off x="9374958" y="3914974"/>
              <a:ext cx="2160000" cy="740843"/>
            </a:xfrm>
            <a:prstGeom prst="rect">
              <a:avLst/>
            </a:prstGeom>
            <a:solidFill>
              <a:schemeClr val="tx1">
                <a:lumMod val="25000"/>
                <a:lumOff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000" kern="0" dirty="0">
                  <a:solidFill>
                    <a:srgbClr val="626066">
                      <a:lumMod val="50000"/>
                    </a:srgbClr>
                  </a:solidFill>
                  <a:latin typeface="Arial Narrow" panose="020B060602020203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velop Implementation Roadmap highlighting the deployment ste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27168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4191E93-4FAF-A142-946D-68258B55021F}"/>
              </a:ext>
            </a:extLst>
          </p:cNvPr>
          <p:cNvSpPr/>
          <p:nvPr/>
        </p:nvSpPr>
        <p:spPr>
          <a:xfrm>
            <a:off x="801078" y="359766"/>
            <a:ext cx="349236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99000">
                      <a:schemeClr val="accent3">
                        <a:alpha val="69000"/>
                      </a:schemeClr>
                    </a:gs>
                  </a:gsLst>
                  <a:lin ang="0" scaled="1"/>
                </a:gradFill>
              </a:rPr>
              <a:t>PROJECT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SCHEDULE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A53F5B5-F413-924C-8589-A8BA43BCC68D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1E13B59-975B-DB4A-84A0-FB43E0D4424A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EC7627-FEC9-4040-A288-F3C3F9D5F930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5E5166F9-0F99-134A-9F17-4ACD84433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397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6E09CA8-418E-8C42-BD25-8E6694903BEB}"/>
              </a:ext>
            </a:extLst>
          </p:cNvPr>
          <p:cNvGrpSpPr>
            <a:grpSpLocks noChangeAspect="1"/>
          </p:cNvGrpSpPr>
          <p:nvPr/>
        </p:nvGrpSpPr>
        <p:grpSpPr>
          <a:xfrm>
            <a:off x="952293" y="1120564"/>
            <a:ext cx="236140" cy="62506"/>
            <a:chOff x="3469621" y="1357388"/>
            <a:chExt cx="506185" cy="133990"/>
          </a:xfrm>
        </p:grpSpPr>
        <p:sp>
          <p:nvSpPr>
            <p:cNvPr id="107" name="Rounded Rectangle 106">
              <a:extLst>
                <a:ext uri="{FF2B5EF4-FFF2-40B4-BE49-F238E27FC236}">
                  <a16:creationId xmlns:a16="http://schemas.microsoft.com/office/drawing/2014/main" id="{27B9E375-ABFD-804C-AF29-643EFCD4101D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A702B0A-F812-3347-AB57-A1BEBC802D9A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ounded Rectangle 108">
              <a:extLst>
                <a:ext uri="{FF2B5EF4-FFF2-40B4-BE49-F238E27FC236}">
                  <a16:creationId xmlns:a16="http://schemas.microsoft.com/office/drawing/2014/main" id="{17D325E1-9ABC-0147-B295-92C6347E314B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4D3EB66-F06A-464D-8783-2DB2501701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149186"/>
              </p:ext>
            </p:extLst>
          </p:nvPr>
        </p:nvGraphicFramePr>
        <p:xfrm>
          <a:off x="952292" y="1359668"/>
          <a:ext cx="10368000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182907195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01224517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83620783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53969721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419230480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876537108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818303470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1190818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4565974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76642844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208302830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14391785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73230978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150745678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62541960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53172898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4019030514"/>
                    </a:ext>
                  </a:extLst>
                </a:gridCol>
              </a:tblGrid>
              <a:tr h="290102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January 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ebruary 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arch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pril</a:t>
                      </a:r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A" sz="1600" dirty="0"/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4701090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US" sz="1200" b="1" dirty="0"/>
                        <a:t>Phase 1 - Project Definition</a:t>
                      </a:r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169103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1.1 Problem Definition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4870057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1.2 Solution Architecture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2817804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1.3 Project Requirements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598391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1.4 Data Requirements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903309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hase 2: Data Collection and Preparation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CA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16912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2.1 Data Collection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238193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2.1 Data Preparation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8889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Phase 3: Model Development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7611276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3.1 Data Segregation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4547125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3.2 Model Development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025577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3.3 Model Evaluation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527514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Phase 4: Solution Deployment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518590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4.1 Deployment Requirements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3017006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4.2 Deployment Roadmap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693779"/>
                  </a:ext>
                </a:extLst>
              </a:tr>
              <a:tr h="260953">
                <a:tc>
                  <a:txBody>
                    <a:bodyPr/>
                    <a:lstStyle/>
                    <a:p>
                      <a:r>
                        <a:rPr lang="en-CA" sz="1200" b="1" dirty="0"/>
                        <a:t>4.3 Model Deployment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12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"/>
                          <a:lumOff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173604"/>
                  </a:ext>
                </a:extLst>
              </a:tr>
            </a:tbl>
          </a:graphicData>
        </a:graphic>
      </p:graphicFrame>
      <p:sp>
        <p:nvSpPr>
          <p:cNvPr id="49" name="Rectangle: Diagonal Corners Rounded 48">
            <a:extLst>
              <a:ext uri="{FF2B5EF4-FFF2-40B4-BE49-F238E27FC236}">
                <a16:creationId xmlns:a16="http://schemas.microsoft.com/office/drawing/2014/main" id="{FC22DEF5-B0DD-41DD-801B-95729404D9FC}"/>
              </a:ext>
            </a:extLst>
          </p:cNvPr>
          <p:cNvSpPr/>
          <p:nvPr/>
        </p:nvSpPr>
        <p:spPr>
          <a:xfrm>
            <a:off x="3819866" y="1119837"/>
            <a:ext cx="7500426" cy="239831"/>
          </a:xfrm>
          <a:prstGeom prst="round2Diag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sx="1000" sy="1000" rotWithShape="0">
              <a:schemeClr val="accent5">
                <a:lumMod val="60000"/>
                <a:lumOff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466" b="1" dirty="0">
                <a:solidFill>
                  <a:schemeClr val="tx2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2020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DD42AA5A-BD5B-429C-810A-C75D33403D8B}"/>
              </a:ext>
            </a:extLst>
          </p:cNvPr>
          <p:cNvSpPr/>
          <p:nvPr/>
        </p:nvSpPr>
        <p:spPr>
          <a:xfrm>
            <a:off x="3840187" y="2081044"/>
            <a:ext cx="454954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1" name="Arrow: Pentagon 50">
            <a:extLst>
              <a:ext uri="{FF2B5EF4-FFF2-40B4-BE49-F238E27FC236}">
                <a16:creationId xmlns:a16="http://schemas.microsoft.com/office/drawing/2014/main" id="{FB95E66D-34B7-4D94-94F0-4B254971A4FF}"/>
              </a:ext>
            </a:extLst>
          </p:cNvPr>
          <p:cNvSpPr/>
          <p:nvPr/>
        </p:nvSpPr>
        <p:spPr>
          <a:xfrm>
            <a:off x="4295140" y="2365642"/>
            <a:ext cx="924559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65C8DD49-599D-4D04-B0A0-5AB5194D0445}"/>
              </a:ext>
            </a:extLst>
          </p:cNvPr>
          <p:cNvSpPr/>
          <p:nvPr/>
        </p:nvSpPr>
        <p:spPr>
          <a:xfrm>
            <a:off x="4295141" y="2634411"/>
            <a:ext cx="924559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892EA6CC-BCCF-44C8-9AC9-294064D42FA2}"/>
              </a:ext>
            </a:extLst>
          </p:cNvPr>
          <p:cNvSpPr/>
          <p:nvPr/>
        </p:nvSpPr>
        <p:spPr>
          <a:xfrm>
            <a:off x="4757420" y="2894811"/>
            <a:ext cx="924559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5" name="Arrow: Pentagon 64">
            <a:extLst>
              <a:ext uri="{FF2B5EF4-FFF2-40B4-BE49-F238E27FC236}">
                <a16:creationId xmlns:a16="http://schemas.microsoft.com/office/drawing/2014/main" id="{9EAE7E93-B94A-42DB-8765-876B8D0E3A1B}"/>
              </a:ext>
            </a:extLst>
          </p:cNvPr>
          <p:cNvSpPr/>
          <p:nvPr/>
        </p:nvSpPr>
        <p:spPr>
          <a:xfrm>
            <a:off x="5219700" y="3479616"/>
            <a:ext cx="18720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6" name="Arrow: Pentagon 65">
            <a:extLst>
              <a:ext uri="{FF2B5EF4-FFF2-40B4-BE49-F238E27FC236}">
                <a16:creationId xmlns:a16="http://schemas.microsoft.com/office/drawing/2014/main" id="{7894D1F6-49C3-4138-8470-C02EAF1916B0}"/>
              </a:ext>
            </a:extLst>
          </p:cNvPr>
          <p:cNvSpPr/>
          <p:nvPr/>
        </p:nvSpPr>
        <p:spPr>
          <a:xfrm>
            <a:off x="6179819" y="3732942"/>
            <a:ext cx="1394461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7" name="Arrow: Pentagon 66">
            <a:extLst>
              <a:ext uri="{FF2B5EF4-FFF2-40B4-BE49-F238E27FC236}">
                <a16:creationId xmlns:a16="http://schemas.microsoft.com/office/drawing/2014/main" id="{4F05664B-C8CA-427C-8066-EB74418DE43D}"/>
              </a:ext>
            </a:extLst>
          </p:cNvPr>
          <p:cNvSpPr/>
          <p:nvPr/>
        </p:nvSpPr>
        <p:spPr>
          <a:xfrm>
            <a:off x="7574281" y="4294631"/>
            <a:ext cx="4699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8" name="Arrow: Pentagon 67">
            <a:extLst>
              <a:ext uri="{FF2B5EF4-FFF2-40B4-BE49-F238E27FC236}">
                <a16:creationId xmlns:a16="http://schemas.microsoft.com/office/drawing/2014/main" id="{F0057F4C-A41E-4F7D-AC53-8CCD7BCEC96D}"/>
              </a:ext>
            </a:extLst>
          </p:cNvPr>
          <p:cNvSpPr/>
          <p:nvPr/>
        </p:nvSpPr>
        <p:spPr>
          <a:xfrm>
            <a:off x="7574280" y="4586073"/>
            <a:ext cx="18669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9" name="Arrow: Pentagon 68">
            <a:extLst>
              <a:ext uri="{FF2B5EF4-FFF2-40B4-BE49-F238E27FC236}">
                <a16:creationId xmlns:a16="http://schemas.microsoft.com/office/drawing/2014/main" id="{F9FA9225-5514-403A-B589-A91D4ED9A353}"/>
              </a:ext>
            </a:extLst>
          </p:cNvPr>
          <p:cNvSpPr/>
          <p:nvPr/>
        </p:nvSpPr>
        <p:spPr>
          <a:xfrm>
            <a:off x="8044181" y="4831404"/>
            <a:ext cx="1396999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0" name="Arrow: Pentagon 79">
            <a:extLst>
              <a:ext uri="{FF2B5EF4-FFF2-40B4-BE49-F238E27FC236}">
                <a16:creationId xmlns:a16="http://schemas.microsoft.com/office/drawing/2014/main" id="{32DB65F7-DF93-4337-895C-E30D082DD929}"/>
              </a:ext>
            </a:extLst>
          </p:cNvPr>
          <p:cNvSpPr/>
          <p:nvPr/>
        </p:nvSpPr>
        <p:spPr>
          <a:xfrm>
            <a:off x="8044181" y="5404607"/>
            <a:ext cx="4699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1" name="Arrow: Pentagon 80">
            <a:extLst>
              <a:ext uri="{FF2B5EF4-FFF2-40B4-BE49-F238E27FC236}">
                <a16:creationId xmlns:a16="http://schemas.microsoft.com/office/drawing/2014/main" id="{23FF4DB8-501A-46B0-904E-4B88EAEC1290}"/>
              </a:ext>
            </a:extLst>
          </p:cNvPr>
          <p:cNvSpPr/>
          <p:nvPr/>
        </p:nvSpPr>
        <p:spPr>
          <a:xfrm>
            <a:off x="8507730" y="5649938"/>
            <a:ext cx="4699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2" name="Arrow: Pentagon 81">
            <a:extLst>
              <a:ext uri="{FF2B5EF4-FFF2-40B4-BE49-F238E27FC236}">
                <a16:creationId xmlns:a16="http://schemas.microsoft.com/office/drawing/2014/main" id="{036EE8E6-48D9-484E-82FE-E2EB4F424D62}"/>
              </a:ext>
            </a:extLst>
          </p:cNvPr>
          <p:cNvSpPr/>
          <p:nvPr/>
        </p:nvSpPr>
        <p:spPr>
          <a:xfrm>
            <a:off x="8977630" y="5914672"/>
            <a:ext cx="1866900" cy="108000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E02FF5E-74F9-4AE3-AD8F-195BCC890D50}"/>
              </a:ext>
            </a:extLst>
          </p:cNvPr>
          <p:cNvCxnSpPr>
            <a:cxnSpLocks/>
          </p:cNvCxnSpPr>
          <p:nvPr/>
        </p:nvCxnSpPr>
        <p:spPr>
          <a:xfrm>
            <a:off x="9925236" y="1956064"/>
            <a:ext cx="0" cy="4330436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DC157A2-3AD4-4981-A4AB-3EFFB80AB790}"/>
              </a:ext>
            </a:extLst>
          </p:cNvPr>
          <p:cNvSpPr/>
          <p:nvPr/>
        </p:nvSpPr>
        <p:spPr>
          <a:xfrm>
            <a:off x="9468036" y="6286500"/>
            <a:ext cx="914400" cy="223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Now</a:t>
            </a:r>
            <a:endParaRPr lang="en-CA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9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ounded Rectangle 11">
            <a:extLst>
              <a:ext uri="{FF2B5EF4-FFF2-40B4-BE49-F238E27FC236}">
                <a16:creationId xmlns:a16="http://schemas.microsoft.com/office/drawing/2014/main" id="{695A1F62-75E4-4266-9CF1-CDF1988FDCCE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E01D27-56F4-6141-9DF8-ABA3954046FB}"/>
              </a:ext>
            </a:extLst>
          </p:cNvPr>
          <p:cNvSpPr txBox="1"/>
          <p:nvPr/>
        </p:nvSpPr>
        <p:spPr>
          <a:xfrm flipH="1">
            <a:off x="352243" y="575829"/>
            <a:ext cx="25280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alpha val="7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igh Level Model Design Architecture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F1A96734-3639-6944-AD71-1C8573B6A927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Slide Number Placeholder 24">
            <a:extLst>
              <a:ext uri="{FF2B5EF4-FFF2-40B4-BE49-F238E27FC236}">
                <a16:creationId xmlns:a16="http://schemas.microsoft.com/office/drawing/2014/main" id="{4F64A582-A733-F74D-8BEE-DA3CE7A48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397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774036E-3339-6B45-8F33-FB7319BC8FAC}"/>
              </a:ext>
            </a:extLst>
          </p:cNvPr>
          <p:cNvSpPr/>
          <p:nvPr/>
        </p:nvSpPr>
        <p:spPr>
          <a:xfrm>
            <a:off x="352242" y="109808"/>
            <a:ext cx="34258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</a:gradFill>
              </a:rPr>
              <a:t>Model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Architectur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08B3F60-4C04-FD43-B2C4-DB4AFFBB7421}"/>
              </a:ext>
            </a:extLst>
          </p:cNvPr>
          <p:cNvGrpSpPr>
            <a:grpSpLocks noChangeAspect="1"/>
          </p:cNvGrpSpPr>
          <p:nvPr/>
        </p:nvGrpSpPr>
        <p:grpSpPr>
          <a:xfrm>
            <a:off x="496991" y="874326"/>
            <a:ext cx="259754" cy="68757"/>
            <a:chOff x="3469621" y="1357388"/>
            <a:chExt cx="506185" cy="133990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73A4F717-B8C1-2D4F-A25C-F3898641F907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34C79187-C112-0441-9F52-97CF382B131E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12D12E30-D8E7-BA44-80AC-0D037CDA5B51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BC13D6D0-5D20-4EC4-B84B-A16BD5F05B26}"/>
              </a:ext>
            </a:extLst>
          </p:cNvPr>
          <p:cNvSpPr/>
          <p:nvPr/>
        </p:nvSpPr>
        <p:spPr>
          <a:xfrm>
            <a:off x="0" y="943083"/>
            <a:ext cx="12192000" cy="530576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CA" sz="1000" kern="0" dirty="0">
              <a:solidFill>
                <a:srgbClr val="626066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C01AA9-E4B6-479D-B9D3-225AC228431F}"/>
              </a:ext>
            </a:extLst>
          </p:cNvPr>
          <p:cNvSpPr/>
          <p:nvPr/>
        </p:nvSpPr>
        <p:spPr>
          <a:xfrm>
            <a:off x="352243" y="1092390"/>
            <a:ext cx="1430838" cy="50737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CA" sz="1000" kern="0" dirty="0">
              <a:solidFill>
                <a:srgbClr val="626066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DFD1B2C-6525-478A-9470-38BC8790242D}"/>
              </a:ext>
            </a:extLst>
          </p:cNvPr>
          <p:cNvSpPr/>
          <p:nvPr/>
        </p:nvSpPr>
        <p:spPr>
          <a:xfrm>
            <a:off x="355524" y="1092390"/>
            <a:ext cx="1427557" cy="2659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Data Sources</a:t>
            </a:r>
          </a:p>
        </p:txBody>
      </p:sp>
      <p:sp>
        <p:nvSpPr>
          <p:cNvPr id="41" name="Twitt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128F37B-CA17-428B-B0CE-1C52CF615172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52200" y="3425201"/>
            <a:ext cx="430925" cy="360000"/>
          </a:xfrm>
          <a:custGeom>
            <a:avLst/>
            <a:gdLst>
              <a:gd name="T0" fmla="*/ 540 w 554"/>
              <a:gd name="T1" fmla="*/ 53 h 461"/>
              <a:gd name="T2" fmla="*/ 528 w 554"/>
              <a:gd name="T3" fmla="*/ 15 h 461"/>
              <a:gd name="T4" fmla="*/ 506 w 554"/>
              <a:gd name="T5" fmla="*/ 7 h 461"/>
              <a:gd name="T6" fmla="*/ 487 w 554"/>
              <a:gd name="T7" fmla="*/ 12 h 461"/>
              <a:gd name="T8" fmla="*/ 453 w 554"/>
              <a:gd name="T9" fmla="*/ 28 h 461"/>
              <a:gd name="T10" fmla="*/ 371 w 554"/>
              <a:gd name="T11" fmla="*/ 0 h 461"/>
              <a:gd name="T12" fmla="*/ 239 w 554"/>
              <a:gd name="T13" fmla="*/ 116 h 461"/>
              <a:gd name="T14" fmla="*/ 100 w 554"/>
              <a:gd name="T15" fmla="*/ 31 h 461"/>
              <a:gd name="T16" fmla="*/ 73 w 554"/>
              <a:gd name="T17" fmla="*/ 18 h 461"/>
              <a:gd name="T18" fmla="*/ 70 w 554"/>
              <a:gd name="T19" fmla="*/ 18 h 461"/>
              <a:gd name="T20" fmla="*/ 42 w 554"/>
              <a:gd name="T21" fmla="*/ 36 h 461"/>
              <a:gd name="T22" fmla="*/ 24 w 554"/>
              <a:gd name="T23" fmla="*/ 103 h 461"/>
              <a:gd name="T24" fmla="*/ 32 w 554"/>
              <a:gd name="T25" fmla="*/ 149 h 461"/>
              <a:gd name="T26" fmla="*/ 23 w 554"/>
              <a:gd name="T27" fmla="*/ 173 h 461"/>
              <a:gd name="T28" fmla="*/ 58 w 554"/>
              <a:gd name="T29" fmla="*/ 264 h 461"/>
              <a:gd name="T30" fmla="*/ 59 w 554"/>
              <a:gd name="T31" fmla="*/ 283 h 461"/>
              <a:gd name="T32" fmla="*/ 99 w 554"/>
              <a:gd name="T33" fmla="*/ 343 h 461"/>
              <a:gd name="T34" fmla="*/ 63 w 554"/>
              <a:gd name="T35" fmla="*/ 347 h 461"/>
              <a:gd name="T36" fmla="*/ 43 w 554"/>
              <a:gd name="T37" fmla="*/ 346 h 461"/>
              <a:gd name="T38" fmla="*/ 39 w 554"/>
              <a:gd name="T39" fmla="*/ 346 h 461"/>
              <a:gd name="T40" fmla="*/ 6 w 554"/>
              <a:gd name="T41" fmla="*/ 369 h 461"/>
              <a:gd name="T42" fmla="*/ 20 w 554"/>
              <a:gd name="T43" fmla="*/ 411 h 461"/>
              <a:gd name="T44" fmla="*/ 190 w 554"/>
              <a:gd name="T45" fmla="*/ 461 h 461"/>
              <a:gd name="T46" fmla="*/ 505 w 554"/>
              <a:gd name="T47" fmla="*/ 150 h 461"/>
              <a:gd name="T48" fmla="*/ 547 w 554"/>
              <a:gd name="T49" fmla="*/ 103 h 461"/>
              <a:gd name="T50" fmla="*/ 554 w 554"/>
              <a:gd name="T51" fmla="*/ 82 h 461"/>
              <a:gd name="T52" fmla="*/ 540 w 554"/>
              <a:gd name="T53" fmla="*/ 53 h 461"/>
              <a:gd name="T54" fmla="*/ 470 w 554"/>
              <a:gd name="T55" fmla="*/ 133 h 461"/>
              <a:gd name="T56" fmla="*/ 470 w 554"/>
              <a:gd name="T57" fmla="*/ 145 h 461"/>
              <a:gd name="T58" fmla="*/ 190 w 554"/>
              <a:gd name="T59" fmla="*/ 425 h 461"/>
              <a:gd name="T60" fmla="*/ 39 w 554"/>
              <a:gd name="T61" fmla="*/ 381 h 461"/>
              <a:gd name="T62" fmla="*/ 63 w 554"/>
              <a:gd name="T63" fmla="*/ 382 h 461"/>
              <a:gd name="T64" fmla="*/ 185 w 554"/>
              <a:gd name="T65" fmla="*/ 340 h 461"/>
              <a:gd name="T66" fmla="*/ 93 w 554"/>
              <a:gd name="T67" fmla="*/ 272 h 461"/>
              <a:gd name="T68" fmla="*/ 111 w 554"/>
              <a:gd name="T69" fmla="*/ 274 h 461"/>
              <a:gd name="T70" fmla="*/ 137 w 554"/>
              <a:gd name="T71" fmla="*/ 270 h 461"/>
              <a:gd name="T72" fmla="*/ 58 w 554"/>
              <a:gd name="T73" fmla="*/ 174 h 461"/>
              <a:gd name="T74" fmla="*/ 58 w 554"/>
              <a:gd name="T75" fmla="*/ 172 h 461"/>
              <a:gd name="T76" fmla="*/ 103 w 554"/>
              <a:gd name="T77" fmla="*/ 185 h 461"/>
              <a:gd name="T78" fmla="*/ 59 w 554"/>
              <a:gd name="T79" fmla="*/ 103 h 461"/>
              <a:gd name="T80" fmla="*/ 72 w 554"/>
              <a:gd name="T81" fmla="*/ 53 h 461"/>
              <a:gd name="T82" fmla="*/ 275 w 554"/>
              <a:gd name="T83" fmla="*/ 156 h 461"/>
              <a:gd name="T84" fmla="*/ 273 w 554"/>
              <a:gd name="T85" fmla="*/ 134 h 461"/>
              <a:gd name="T86" fmla="*/ 371 w 554"/>
              <a:gd name="T87" fmla="*/ 35 h 461"/>
              <a:gd name="T88" fmla="*/ 443 w 554"/>
              <a:gd name="T89" fmla="*/ 66 h 461"/>
              <a:gd name="T90" fmla="*/ 505 w 554"/>
              <a:gd name="T91" fmla="*/ 43 h 461"/>
              <a:gd name="T92" fmla="*/ 462 w 554"/>
              <a:gd name="T93" fmla="*/ 97 h 461"/>
              <a:gd name="T94" fmla="*/ 519 w 554"/>
              <a:gd name="T95" fmla="*/ 81 h 461"/>
              <a:gd name="T96" fmla="*/ 470 w 554"/>
              <a:gd name="T97" fmla="*/ 133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54" h="461">
                <a:moveTo>
                  <a:pt x="540" y="53"/>
                </a:moveTo>
                <a:cubicBezTo>
                  <a:pt x="544" y="39"/>
                  <a:pt x="539" y="24"/>
                  <a:pt x="528" y="15"/>
                </a:cubicBezTo>
                <a:cubicBezTo>
                  <a:pt x="521" y="10"/>
                  <a:pt x="513" y="7"/>
                  <a:pt x="506" y="7"/>
                </a:cubicBezTo>
                <a:cubicBezTo>
                  <a:pt x="499" y="7"/>
                  <a:pt x="493" y="9"/>
                  <a:pt x="487" y="12"/>
                </a:cubicBezTo>
                <a:cubicBezTo>
                  <a:pt x="476" y="19"/>
                  <a:pt x="465" y="24"/>
                  <a:pt x="453" y="28"/>
                </a:cubicBezTo>
                <a:cubicBezTo>
                  <a:pt x="429" y="10"/>
                  <a:pt x="401" y="0"/>
                  <a:pt x="371" y="0"/>
                </a:cubicBezTo>
                <a:cubicBezTo>
                  <a:pt x="303" y="0"/>
                  <a:pt x="247" y="51"/>
                  <a:pt x="239" y="116"/>
                </a:cubicBezTo>
                <a:cubicBezTo>
                  <a:pt x="185" y="104"/>
                  <a:pt x="135" y="75"/>
                  <a:pt x="100" y="31"/>
                </a:cubicBezTo>
                <a:cubicBezTo>
                  <a:pt x="93" y="23"/>
                  <a:pt x="83" y="18"/>
                  <a:pt x="73" y="18"/>
                </a:cubicBezTo>
                <a:cubicBezTo>
                  <a:pt x="72" y="18"/>
                  <a:pt x="71" y="18"/>
                  <a:pt x="70" y="18"/>
                </a:cubicBezTo>
                <a:cubicBezTo>
                  <a:pt x="58" y="19"/>
                  <a:pt x="48" y="26"/>
                  <a:pt x="42" y="36"/>
                </a:cubicBezTo>
                <a:cubicBezTo>
                  <a:pt x="30" y="56"/>
                  <a:pt x="24" y="79"/>
                  <a:pt x="24" y="103"/>
                </a:cubicBezTo>
                <a:cubicBezTo>
                  <a:pt x="24" y="119"/>
                  <a:pt x="27" y="134"/>
                  <a:pt x="32" y="149"/>
                </a:cubicBezTo>
                <a:cubicBezTo>
                  <a:pt x="26" y="155"/>
                  <a:pt x="23" y="164"/>
                  <a:pt x="23" y="173"/>
                </a:cubicBezTo>
                <a:cubicBezTo>
                  <a:pt x="23" y="208"/>
                  <a:pt x="36" y="240"/>
                  <a:pt x="58" y="264"/>
                </a:cubicBezTo>
                <a:cubicBezTo>
                  <a:pt x="57" y="270"/>
                  <a:pt x="57" y="277"/>
                  <a:pt x="59" y="283"/>
                </a:cubicBezTo>
                <a:cubicBezTo>
                  <a:pt x="67" y="307"/>
                  <a:pt x="81" y="327"/>
                  <a:pt x="99" y="343"/>
                </a:cubicBezTo>
                <a:cubicBezTo>
                  <a:pt x="87" y="346"/>
                  <a:pt x="75" y="347"/>
                  <a:pt x="63" y="347"/>
                </a:cubicBezTo>
                <a:cubicBezTo>
                  <a:pt x="56" y="347"/>
                  <a:pt x="50" y="347"/>
                  <a:pt x="43" y="346"/>
                </a:cubicBezTo>
                <a:cubicBezTo>
                  <a:pt x="42" y="346"/>
                  <a:pt x="40" y="346"/>
                  <a:pt x="39" y="346"/>
                </a:cubicBezTo>
                <a:cubicBezTo>
                  <a:pt x="24" y="346"/>
                  <a:pt x="11" y="355"/>
                  <a:pt x="6" y="369"/>
                </a:cubicBezTo>
                <a:cubicBezTo>
                  <a:pt x="0" y="385"/>
                  <a:pt x="6" y="402"/>
                  <a:pt x="20" y="411"/>
                </a:cubicBezTo>
                <a:cubicBezTo>
                  <a:pt x="71" y="444"/>
                  <a:pt x="130" y="461"/>
                  <a:pt x="190" y="461"/>
                </a:cubicBezTo>
                <a:cubicBezTo>
                  <a:pt x="386" y="461"/>
                  <a:pt x="503" y="303"/>
                  <a:pt x="505" y="150"/>
                </a:cubicBezTo>
                <a:cubicBezTo>
                  <a:pt x="521" y="136"/>
                  <a:pt x="535" y="120"/>
                  <a:pt x="547" y="103"/>
                </a:cubicBezTo>
                <a:cubicBezTo>
                  <a:pt x="552" y="97"/>
                  <a:pt x="554" y="90"/>
                  <a:pt x="554" y="82"/>
                </a:cubicBezTo>
                <a:cubicBezTo>
                  <a:pt x="554" y="70"/>
                  <a:pt x="548" y="59"/>
                  <a:pt x="540" y="53"/>
                </a:cubicBezTo>
                <a:close/>
                <a:moveTo>
                  <a:pt x="470" y="133"/>
                </a:moveTo>
                <a:cubicBezTo>
                  <a:pt x="470" y="137"/>
                  <a:pt x="470" y="141"/>
                  <a:pt x="470" y="145"/>
                </a:cubicBezTo>
                <a:cubicBezTo>
                  <a:pt x="470" y="275"/>
                  <a:pt x="371" y="425"/>
                  <a:pt x="190" y="425"/>
                </a:cubicBezTo>
                <a:cubicBezTo>
                  <a:pt x="134" y="425"/>
                  <a:pt x="83" y="409"/>
                  <a:pt x="39" y="381"/>
                </a:cubicBezTo>
                <a:cubicBezTo>
                  <a:pt x="47" y="382"/>
                  <a:pt x="55" y="382"/>
                  <a:pt x="63" y="382"/>
                </a:cubicBezTo>
                <a:cubicBezTo>
                  <a:pt x="109" y="382"/>
                  <a:pt x="151" y="367"/>
                  <a:pt x="185" y="340"/>
                </a:cubicBezTo>
                <a:cubicBezTo>
                  <a:pt x="142" y="339"/>
                  <a:pt x="105" y="311"/>
                  <a:pt x="93" y="272"/>
                </a:cubicBezTo>
                <a:cubicBezTo>
                  <a:pt x="99" y="273"/>
                  <a:pt x="105" y="274"/>
                  <a:pt x="111" y="274"/>
                </a:cubicBezTo>
                <a:cubicBezTo>
                  <a:pt x="120" y="274"/>
                  <a:pt x="129" y="272"/>
                  <a:pt x="137" y="270"/>
                </a:cubicBezTo>
                <a:cubicBezTo>
                  <a:pt x="92" y="261"/>
                  <a:pt x="58" y="221"/>
                  <a:pt x="58" y="174"/>
                </a:cubicBezTo>
                <a:lnTo>
                  <a:pt x="58" y="172"/>
                </a:lnTo>
                <a:cubicBezTo>
                  <a:pt x="72" y="180"/>
                  <a:pt x="87" y="184"/>
                  <a:pt x="103" y="185"/>
                </a:cubicBezTo>
                <a:cubicBezTo>
                  <a:pt x="76" y="167"/>
                  <a:pt x="59" y="137"/>
                  <a:pt x="59" y="103"/>
                </a:cubicBezTo>
                <a:cubicBezTo>
                  <a:pt x="59" y="85"/>
                  <a:pt x="64" y="68"/>
                  <a:pt x="72" y="53"/>
                </a:cubicBezTo>
                <a:cubicBezTo>
                  <a:pt x="121" y="113"/>
                  <a:pt x="193" y="152"/>
                  <a:pt x="275" y="156"/>
                </a:cubicBezTo>
                <a:cubicBezTo>
                  <a:pt x="274" y="149"/>
                  <a:pt x="273" y="141"/>
                  <a:pt x="273" y="134"/>
                </a:cubicBezTo>
                <a:cubicBezTo>
                  <a:pt x="273" y="79"/>
                  <a:pt x="317" y="35"/>
                  <a:pt x="371" y="35"/>
                </a:cubicBezTo>
                <a:cubicBezTo>
                  <a:pt x="399" y="35"/>
                  <a:pt x="425" y="47"/>
                  <a:pt x="443" y="66"/>
                </a:cubicBezTo>
                <a:cubicBezTo>
                  <a:pt x="465" y="62"/>
                  <a:pt x="486" y="54"/>
                  <a:pt x="505" y="43"/>
                </a:cubicBezTo>
                <a:cubicBezTo>
                  <a:pt x="498" y="66"/>
                  <a:pt x="483" y="85"/>
                  <a:pt x="462" y="97"/>
                </a:cubicBezTo>
                <a:cubicBezTo>
                  <a:pt x="482" y="95"/>
                  <a:pt x="501" y="89"/>
                  <a:pt x="519" y="81"/>
                </a:cubicBezTo>
                <a:cubicBezTo>
                  <a:pt x="506" y="101"/>
                  <a:pt x="489" y="119"/>
                  <a:pt x="470" y="13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42" name="Documen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09EF25F-5FD6-4C49-B52A-40A4E8DDE53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79462" y="1706858"/>
            <a:ext cx="376401" cy="542925"/>
            <a:chOff x="-1111250" y="4454525"/>
            <a:chExt cx="606425" cy="874713"/>
          </a:xfrm>
          <a:solidFill>
            <a:schemeClr val="bg1"/>
          </a:solidFill>
        </p:grpSpPr>
        <p:sp>
          <p:nvSpPr>
            <p:cNvPr id="44" name="Freeform 241">
              <a:extLst>
                <a:ext uri="{FF2B5EF4-FFF2-40B4-BE49-F238E27FC236}">
                  <a16:creationId xmlns:a16="http://schemas.microsoft.com/office/drawing/2014/main" id="{6D89D71E-ABEB-447D-91C6-6DB4035734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11250" y="4454525"/>
              <a:ext cx="606425" cy="874713"/>
            </a:xfrm>
            <a:custGeom>
              <a:avLst/>
              <a:gdLst>
                <a:gd name="T0" fmla="*/ 758 w 797"/>
                <a:gd name="T1" fmla="*/ 1082 h 1147"/>
                <a:gd name="T2" fmla="*/ 733 w 797"/>
                <a:gd name="T3" fmla="*/ 1107 h 1147"/>
                <a:gd name="T4" fmla="*/ 65 w 797"/>
                <a:gd name="T5" fmla="*/ 1107 h 1147"/>
                <a:gd name="T6" fmla="*/ 40 w 797"/>
                <a:gd name="T7" fmla="*/ 1082 h 1147"/>
                <a:gd name="T8" fmla="*/ 40 w 797"/>
                <a:gd name="T9" fmla="*/ 248 h 1147"/>
                <a:gd name="T10" fmla="*/ 184 w 797"/>
                <a:gd name="T11" fmla="*/ 248 h 1147"/>
                <a:gd name="T12" fmla="*/ 248 w 797"/>
                <a:gd name="T13" fmla="*/ 184 h 1147"/>
                <a:gd name="T14" fmla="*/ 248 w 797"/>
                <a:gd name="T15" fmla="*/ 40 h 1147"/>
                <a:gd name="T16" fmla="*/ 733 w 797"/>
                <a:gd name="T17" fmla="*/ 40 h 1147"/>
                <a:gd name="T18" fmla="*/ 758 w 797"/>
                <a:gd name="T19" fmla="*/ 65 h 1147"/>
                <a:gd name="T20" fmla="*/ 758 w 797"/>
                <a:gd name="T21" fmla="*/ 1082 h 1147"/>
                <a:gd name="T22" fmla="*/ 209 w 797"/>
                <a:gd name="T23" fmla="*/ 68 h 1147"/>
                <a:gd name="T24" fmla="*/ 209 w 797"/>
                <a:gd name="T25" fmla="*/ 184 h 1147"/>
                <a:gd name="T26" fmla="*/ 184 w 797"/>
                <a:gd name="T27" fmla="*/ 209 h 1147"/>
                <a:gd name="T28" fmla="*/ 68 w 797"/>
                <a:gd name="T29" fmla="*/ 209 h 1147"/>
                <a:gd name="T30" fmla="*/ 209 w 797"/>
                <a:gd name="T31" fmla="*/ 68 h 1147"/>
                <a:gd name="T32" fmla="*/ 733 w 797"/>
                <a:gd name="T33" fmla="*/ 0 h 1147"/>
                <a:gd name="T34" fmla="*/ 229 w 797"/>
                <a:gd name="T35" fmla="*/ 0 h 1147"/>
                <a:gd name="T36" fmla="*/ 215 w 797"/>
                <a:gd name="T37" fmla="*/ 6 h 1147"/>
                <a:gd name="T38" fmla="*/ 6 w 797"/>
                <a:gd name="T39" fmla="*/ 215 h 1147"/>
                <a:gd name="T40" fmla="*/ 0 w 797"/>
                <a:gd name="T41" fmla="*/ 229 h 1147"/>
                <a:gd name="T42" fmla="*/ 0 w 797"/>
                <a:gd name="T43" fmla="*/ 1082 h 1147"/>
                <a:gd name="T44" fmla="*/ 65 w 797"/>
                <a:gd name="T45" fmla="*/ 1147 h 1147"/>
                <a:gd name="T46" fmla="*/ 733 w 797"/>
                <a:gd name="T47" fmla="*/ 1147 h 1147"/>
                <a:gd name="T48" fmla="*/ 797 w 797"/>
                <a:gd name="T49" fmla="*/ 1082 h 1147"/>
                <a:gd name="T50" fmla="*/ 797 w 797"/>
                <a:gd name="T51" fmla="*/ 65 h 1147"/>
                <a:gd name="T52" fmla="*/ 733 w 797"/>
                <a:gd name="T5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7" h="1147">
                  <a:moveTo>
                    <a:pt x="758" y="1082"/>
                  </a:moveTo>
                  <a:cubicBezTo>
                    <a:pt x="758" y="1096"/>
                    <a:pt x="747" y="1107"/>
                    <a:pt x="733" y="1107"/>
                  </a:cubicBezTo>
                  <a:lnTo>
                    <a:pt x="65" y="1107"/>
                  </a:lnTo>
                  <a:cubicBezTo>
                    <a:pt x="51" y="1107"/>
                    <a:pt x="40" y="1096"/>
                    <a:pt x="40" y="1082"/>
                  </a:cubicBezTo>
                  <a:lnTo>
                    <a:pt x="40" y="248"/>
                  </a:lnTo>
                  <a:lnTo>
                    <a:pt x="184" y="248"/>
                  </a:lnTo>
                  <a:cubicBezTo>
                    <a:pt x="219" y="248"/>
                    <a:pt x="248" y="219"/>
                    <a:pt x="248" y="184"/>
                  </a:cubicBezTo>
                  <a:lnTo>
                    <a:pt x="248" y="40"/>
                  </a:lnTo>
                  <a:lnTo>
                    <a:pt x="733" y="40"/>
                  </a:lnTo>
                  <a:cubicBezTo>
                    <a:pt x="747" y="40"/>
                    <a:pt x="758" y="51"/>
                    <a:pt x="758" y="65"/>
                  </a:cubicBezTo>
                  <a:lnTo>
                    <a:pt x="758" y="1082"/>
                  </a:lnTo>
                  <a:close/>
                  <a:moveTo>
                    <a:pt x="209" y="68"/>
                  </a:moveTo>
                  <a:lnTo>
                    <a:pt x="209" y="184"/>
                  </a:lnTo>
                  <a:cubicBezTo>
                    <a:pt x="209" y="197"/>
                    <a:pt x="198" y="209"/>
                    <a:pt x="184" y="209"/>
                  </a:cubicBezTo>
                  <a:lnTo>
                    <a:pt x="68" y="209"/>
                  </a:lnTo>
                  <a:lnTo>
                    <a:pt x="209" y="68"/>
                  </a:lnTo>
                  <a:close/>
                  <a:moveTo>
                    <a:pt x="733" y="0"/>
                  </a:moveTo>
                  <a:lnTo>
                    <a:pt x="229" y="0"/>
                  </a:lnTo>
                  <a:cubicBezTo>
                    <a:pt x="223" y="0"/>
                    <a:pt x="218" y="2"/>
                    <a:pt x="215" y="6"/>
                  </a:cubicBezTo>
                  <a:lnTo>
                    <a:pt x="6" y="215"/>
                  </a:lnTo>
                  <a:cubicBezTo>
                    <a:pt x="3" y="218"/>
                    <a:pt x="0" y="223"/>
                    <a:pt x="0" y="229"/>
                  </a:cubicBezTo>
                  <a:lnTo>
                    <a:pt x="0" y="1082"/>
                  </a:lnTo>
                  <a:cubicBezTo>
                    <a:pt x="0" y="1118"/>
                    <a:pt x="30" y="1147"/>
                    <a:pt x="65" y="1147"/>
                  </a:cubicBezTo>
                  <a:lnTo>
                    <a:pt x="733" y="1147"/>
                  </a:lnTo>
                  <a:cubicBezTo>
                    <a:pt x="768" y="1147"/>
                    <a:pt x="797" y="1118"/>
                    <a:pt x="797" y="1082"/>
                  </a:cubicBezTo>
                  <a:lnTo>
                    <a:pt x="797" y="65"/>
                  </a:lnTo>
                  <a:cubicBezTo>
                    <a:pt x="797" y="29"/>
                    <a:pt x="768" y="0"/>
                    <a:pt x="733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45" name="Rectangle 242">
              <a:extLst>
                <a:ext uri="{FF2B5EF4-FFF2-40B4-BE49-F238E27FC236}">
                  <a16:creationId xmlns:a16="http://schemas.microsoft.com/office/drawing/2014/main" id="{51F91C5A-E139-41C6-B04B-30AA88DAD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080000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0" name="Rectangle 243">
              <a:extLst>
                <a:ext uri="{FF2B5EF4-FFF2-40B4-BE49-F238E27FC236}">
                  <a16:creationId xmlns:a16="http://schemas.microsoft.com/office/drawing/2014/main" id="{E9899271-DB5D-4922-AFAA-EA709FCAB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127625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1" name="Rectangle 244">
              <a:extLst>
                <a:ext uri="{FF2B5EF4-FFF2-40B4-BE49-F238E27FC236}">
                  <a16:creationId xmlns:a16="http://schemas.microsoft.com/office/drawing/2014/main" id="{77BAEC91-A042-4E39-AFB5-AF1FE10BC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176838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4" name="Rectangle 245">
              <a:extLst>
                <a:ext uri="{FF2B5EF4-FFF2-40B4-BE49-F238E27FC236}">
                  <a16:creationId xmlns:a16="http://schemas.microsoft.com/office/drawing/2014/main" id="{08FB64E8-C087-452E-B53C-029E15D05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983163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5" name="Rectangle 246">
              <a:extLst>
                <a:ext uri="{FF2B5EF4-FFF2-40B4-BE49-F238E27FC236}">
                  <a16:creationId xmlns:a16="http://schemas.microsoft.com/office/drawing/2014/main" id="{D641BD51-9E7C-4C64-999D-55765C995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030788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6" name="Rectangle 247">
              <a:extLst>
                <a:ext uri="{FF2B5EF4-FFF2-40B4-BE49-F238E27FC236}">
                  <a16:creationId xmlns:a16="http://schemas.microsoft.com/office/drawing/2014/main" id="{5A40CAC4-AE17-4316-BAB1-A2BC0C63F3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080000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7" name="Rectangle 248">
              <a:extLst>
                <a:ext uri="{FF2B5EF4-FFF2-40B4-BE49-F238E27FC236}">
                  <a16:creationId xmlns:a16="http://schemas.microsoft.com/office/drawing/2014/main" id="{E15A9411-DA42-4896-B4F7-F33A43388C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933950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4" name="Rectangle 249">
              <a:extLst>
                <a:ext uri="{FF2B5EF4-FFF2-40B4-BE49-F238E27FC236}">
                  <a16:creationId xmlns:a16="http://schemas.microsoft.com/office/drawing/2014/main" id="{AA988A84-3264-4265-A7AB-6A694955D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983163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5" name="Rectangle 250">
              <a:extLst>
                <a:ext uri="{FF2B5EF4-FFF2-40B4-BE49-F238E27FC236}">
                  <a16:creationId xmlns:a16="http://schemas.microsoft.com/office/drawing/2014/main" id="{4D9C5F00-AA72-4A14-AB90-F4A08763F5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5030788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6" name="Rectangle 251">
              <a:extLst>
                <a:ext uri="{FF2B5EF4-FFF2-40B4-BE49-F238E27FC236}">
                  <a16:creationId xmlns:a16="http://schemas.microsoft.com/office/drawing/2014/main" id="{481730E6-0D2F-4176-9B88-45467D481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837113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7" name="Rectangle 252">
              <a:extLst>
                <a:ext uri="{FF2B5EF4-FFF2-40B4-BE49-F238E27FC236}">
                  <a16:creationId xmlns:a16="http://schemas.microsoft.com/office/drawing/2014/main" id="{3AF5495D-88D5-406A-9DDB-FBC7CA298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886325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8" name="Rectangle 253">
              <a:extLst>
                <a:ext uri="{FF2B5EF4-FFF2-40B4-BE49-F238E27FC236}">
                  <a16:creationId xmlns:a16="http://schemas.microsoft.com/office/drawing/2014/main" id="{5FA4EF2F-802F-4FC5-8961-B2B3689952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933950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9" name="Rectangle 254">
              <a:extLst>
                <a:ext uri="{FF2B5EF4-FFF2-40B4-BE49-F238E27FC236}">
                  <a16:creationId xmlns:a16="http://schemas.microsoft.com/office/drawing/2014/main" id="{7510CC22-7F0A-4FCE-958E-70AAF39A1D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789488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70" name="Rectangle 255">
              <a:extLst>
                <a:ext uri="{FF2B5EF4-FFF2-40B4-BE49-F238E27FC236}">
                  <a16:creationId xmlns:a16="http://schemas.microsoft.com/office/drawing/2014/main" id="{EB3CCD6D-04CE-4681-9477-0E8242502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837113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71" name="Rectangle 256">
              <a:extLst>
                <a:ext uri="{FF2B5EF4-FFF2-40B4-BE49-F238E27FC236}">
                  <a16:creationId xmlns:a16="http://schemas.microsoft.com/office/drawing/2014/main" id="{287E3F4B-2F93-40F4-BA24-9BE97A58E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789488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72" name="Rectangle 257">
              <a:extLst>
                <a:ext uri="{FF2B5EF4-FFF2-40B4-BE49-F238E27FC236}">
                  <a16:creationId xmlns:a16="http://schemas.microsoft.com/office/drawing/2014/main" id="{377DE3B4-4E4C-46F6-BE4A-2359070E30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740275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73" name="Rectangle 258">
              <a:extLst>
                <a:ext uri="{FF2B5EF4-FFF2-40B4-BE49-F238E27FC236}">
                  <a16:creationId xmlns:a16="http://schemas.microsoft.com/office/drawing/2014/main" id="{7178E839-A4B5-4917-A729-D8E1ED82D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19162" y="4886325"/>
              <a:ext cx="311150" cy="158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74" name="Rectangle 259">
              <a:extLst>
                <a:ext uri="{FF2B5EF4-FFF2-40B4-BE49-F238E27FC236}">
                  <a16:creationId xmlns:a16="http://schemas.microsoft.com/office/drawing/2014/main" id="{C1275753-0C2E-41F4-9535-7EB12F8353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60425" y="4600575"/>
              <a:ext cx="252413" cy="317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Call_cent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EABA7DF-AB9E-4A17-B1BE-4CDEFC9702B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11243" y="4960620"/>
            <a:ext cx="712839" cy="542925"/>
            <a:chOff x="0" y="0"/>
            <a:chExt cx="712839" cy="542925"/>
          </a:xfrm>
          <a:solidFill>
            <a:schemeClr val="bg1"/>
          </a:solidFill>
        </p:grpSpPr>
        <p:grpSp>
          <p:nvGrpSpPr>
            <p:cNvPr id="76" name="Customer_service">
              <a:extLst>
                <a:ext uri="{FF2B5EF4-FFF2-40B4-BE49-F238E27FC236}">
                  <a16:creationId xmlns:a16="http://schemas.microsoft.com/office/drawing/2014/main" id="{3028B4E4-1EEA-403A-A3ED-C7F0BD19F819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0" y="0"/>
              <a:ext cx="437297" cy="542925"/>
              <a:chOff x="4962526" y="5921375"/>
              <a:chExt cx="657225" cy="815976"/>
            </a:xfrm>
            <a:grpFill/>
          </p:grpSpPr>
          <p:sp>
            <p:nvSpPr>
              <p:cNvPr id="92" name="Freeform 47">
                <a:extLst>
                  <a:ext uri="{FF2B5EF4-FFF2-40B4-BE49-F238E27FC236}">
                    <a16:creationId xmlns:a16="http://schemas.microsoft.com/office/drawing/2014/main" id="{7A58B36E-535B-4BE4-BBFF-75C1EE49B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888" y="6337300"/>
                <a:ext cx="444500" cy="76200"/>
              </a:xfrm>
              <a:custGeom>
                <a:avLst/>
                <a:gdLst>
                  <a:gd name="T0" fmla="*/ 0 w 582"/>
                  <a:gd name="T1" fmla="*/ 99 h 99"/>
                  <a:gd name="T2" fmla="*/ 582 w 582"/>
                  <a:gd name="T3" fmla="*/ 99 h 99"/>
                  <a:gd name="T4" fmla="*/ 291 w 582"/>
                  <a:gd name="T5" fmla="*/ 0 h 99"/>
                  <a:gd name="T6" fmla="*/ 0 w 582"/>
                  <a:gd name="T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2" h="99">
                    <a:moveTo>
                      <a:pt x="0" y="99"/>
                    </a:moveTo>
                    <a:lnTo>
                      <a:pt x="582" y="99"/>
                    </a:lnTo>
                    <a:cubicBezTo>
                      <a:pt x="516" y="35"/>
                      <a:pt x="411" y="0"/>
                      <a:pt x="291" y="0"/>
                    </a:cubicBezTo>
                    <a:cubicBezTo>
                      <a:pt x="172" y="0"/>
                      <a:pt x="66" y="35"/>
                      <a:pt x="0" y="9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48">
                <a:extLst>
                  <a:ext uri="{FF2B5EF4-FFF2-40B4-BE49-F238E27FC236}">
                    <a16:creationId xmlns:a16="http://schemas.microsoft.com/office/drawing/2014/main" id="{52AA9521-BC13-4554-96D5-675DACFC2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6" y="6461125"/>
                <a:ext cx="657225" cy="276225"/>
              </a:xfrm>
              <a:custGeom>
                <a:avLst/>
                <a:gdLst>
                  <a:gd name="T0" fmla="*/ 808 w 864"/>
                  <a:gd name="T1" fmla="*/ 0 h 362"/>
                  <a:gd name="T2" fmla="*/ 56 w 864"/>
                  <a:gd name="T3" fmla="*/ 0 h 362"/>
                  <a:gd name="T4" fmla="*/ 0 w 864"/>
                  <a:gd name="T5" fmla="*/ 55 h 362"/>
                  <a:gd name="T6" fmla="*/ 0 w 864"/>
                  <a:gd name="T7" fmla="*/ 362 h 362"/>
                  <a:gd name="T8" fmla="*/ 52 w 864"/>
                  <a:gd name="T9" fmla="*/ 362 h 362"/>
                  <a:gd name="T10" fmla="*/ 52 w 864"/>
                  <a:gd name="T11" fmla="*/ 55 h 362"/>
                  <a:gd name="T12" fmla="*/ 56 w 864"/>
                  <a:gd name="T13" fmla="*/ 51 h 362"/>
                  <a:gd name="T14" fmla="*/ 808 w 864"/>
                  <a:gd name="T15" fmla="*/ 51 h 362"/>
                  <a:gd name="T16" fmla="*/ 812 w 864"/>
                  <a:gd name="T17" fmla="*/ 55 h 362"/>
                  <a:gd name="T18" fmla="*/ 812 w 864"/>
                  <a:gd name="T19" fmla="*/ 362 h 362"/>
                  <a:gd name="T20" fmla="*/ 864 w 864"/>
                  <a:gd name="T21" fmla="*/ 362 h 362"/>
                  <a:gd name="T22" fmla="*/ 864 w 864"/>
                  <a:gd name="T23" fmla="*/ 55 h 362"/>
                  <a:gd name="T24" fmla="*/ 808 w 864"/>
                  <a:gd name="T25" fmla="*/ 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64" h="362">
                    <a:moveTo>
                      <a:pt x="808" y="0"/>
                    </a:moveTo>
                    <a:lnTo>
                      <a:pt x="56" y="0"/>
                    </a:lnTo>
                    <a:cubicBezTo>
                      <a:pt x="25" y="0"/>
                      <a:pt x="0" y="25"/>
                      <a:pt x="0" y="55"/>
                    </a:cubicBezTo>
                    <a:lnTo>
                      <a:pt x="0" y="362"/>
                    </a:lnTo>
                    <a:lnTo>
                      <a:pt x="52" y="362"/>
                    </a:lnTo>
                    <a:lnTo>
                      <a:pt x="52" y="55"/>
                    </a:lnTo>
                    <a:cubicBezTo>
                      <a:pt x="52" y="53"/>
                      <a:pt x="54" y="51"/>
                      <a:pt x="56" y="51"/>
                    </a:cubicBezTo>
                    <a:lnTo>
                      <a:pt x="808" y="51"/>
                    </a:lnTo>
                    <a:cubicBezTo>
                      <a:pt x="811" y="51"/>
                      <a:pt x="812" y="53"/>
                      <a:pt x="812" y="55"/>
                    </a:cubicBezTo>
                    <a:lnTo>
                      <a:pt x="812" y="362"/>
                    </a:lnTo>
                    <a:lnTo>
                      <a:pt x="864" y="362"/>
                    </a:lnTo>
                    <a:lnTo>
                      <a:pt x="864" y="55"/>
                    </a:lnTo>
                    <a:cubicBezTo>
                      <a:pt x="864" y="25"/>
                      <a:pt x="839" y="0"/>
                      <a:pt x="80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49">
                <a:extLst>
                  <a:ext uri="{FF2B5EF4-FFF2-40B4-BE49-F238E27FC236}">
                    <a16:creationId xmlns:a16="http://schemas.microsoft.com/office/drawing/2014/main" id="{3B33026B-B110-42C9-9AFE-DF1902251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2401" y="6678613"/>
                <a:ext cx="117475" cy="58738"/>
              </a:xfrm>
              <a:custGeom>
                <a:avLst/>
                <a:gdLst>
                  <a:gd name="T0" fmla="*/ 77 w 154"/>
                  <a:gd name="T1" fmla="*/ 0 h 77"/>
                  <a:gd name="T2" fmla="*/ 0 w 154"/>
                  <a:gd name="T3" fmla="*/ 77 h 77"/>
                  <a:gd name="T4" fmla="*/ 154 w 154"/>
                  <a:gd name="T5" fmla="*/ 77 h 77"/>
                  <a:gd name="T6" fmla="*/ 77 w 154"/>
                  <a:gd name="T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4" h="77">
                    <a:moveTo>
                      <a:pt x="77" y="0"/>
                    </a:moveTo>
                    <a:cubicBezTo>
                      <a:pt x="34" y="0"/>
                      <a:pt x="0" y="35"/>
                      <a:pt x="0" y="77"/>
                    </a:cubicBezTo>
                    <a:lnTo>
                      <a:pt x="154" y="77"/>
                    </a:lnTo>
                    <a:cubicBezTo>
                      <a:pt x="154" y="35"/>
                      <a:pt x="120" y="0"/>
                      <a:pt x="7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50">
                <a:extLst>
                  <a:ext uri="{FF2B5EF4-FFF2-40B4-BE49-F238E27FC236}">
                    <a16:creationId xmlns:a16="http://schemas.microsoft.com/office/drawing/2014/main" id="{61032D21-BD08-474A-BAE4-A3D865B131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67301" y="5921375"/>
                <a:ext cx="447675" cy="382588"/>
              </a:xfrm>
              <a:custGeom>
                <a:avLst/>
                <a:gdLst>
                  <a:gd name="T0" fmla="*/ 495 w 586"/>
                  <a:gd name="T1" fmla="*/ 229 h 502"/>
                  <a:gd name="T2" fmla="*/ 293 w 586"/>
                  <a:gd name="T3" fmla="*/ 80 h 502"/>
                  <a:gd name="T4" fmla="*/ 91 w 586"/>
                  <a:gd name="T5" fmla="*/ 229 h 502"/>
                  <a:gd name="T6" fmla="*/ 74 w 586"/>
                  <a:gd name="T7" fmla="*/ 199 h 502"/>
                  <a:gd name="T8" fmla="*/ 291 w 586"/>
                  <a:gd name="T9" fmla="*/ 42 h 502"/>
                  <a:gd name="T10" fmla="*/ 512 w 586"/>
                  <a:gd name="T11" fmla="*/ 199 h 502"/>
                  <a:gd name="T12" fmla="*/ 495 w 586"/>
                  <a:gd name="T13" fmla="*/ 229 h 502"/>
                  <a:gd name="T14" fmla="*/ 586 w 586"/>
                  <a:gd name="T15" fmla="*/ 235 h 502"/>
                  <a:gd name="T16" fmla="*/ 554 w 586"/>
                  <a:gd name="T17" fmla="*/ 192 h 502"/>
                  <a:gd name="T18" fmla="*/ 291 w 586"/>
                  <a:gd name="T19" fmla="*/ 0 h 502"/>
                  <a:gd name="T20" fmla="*/ 32 w 586"/>
                  <a:gd name="T21" fmla="*/ 192 h 502"/>
                  <a:gd name="T22" fmla="*/ 0 w 586"/>
                  <a:gd name="T23" fmla="*/ 235 h 502"/>
                  <a:gd name="T24" fmla="*/ 0 w 586"/>
                  <a:gd name="T25" fmla="*/ 335 h 502"/>
                  <a:gd name="T26" fmla="*/ 46 w 586"/>
                  <a:gd name="T27" fmla="*/ 381 h 502"/>
                  <a:gd name="T28" fmla="*/ 90 w 586"/>
                  <a:gd name="T29" fmla="*/ 347 h 502"/>
                  <a:gd name="T30" fmla="*/ 293 w 586"/>
                  <a:gd name="T31" fmla="*/ 502 h 502"/>
                  <a:gd name="T32" fmla="*/ 481 w 586"/>
                  <a:gd name="T33" fmla="*/ 387 h 502"/>
                  <a:gd name="T34" fmla="*/ 362 w 586"/>
                  <a:gd name="T35" fmla="*/ 424 h 502"/>
                  <a:gd name="T36" fmla="*/ 333 w 586"/>
                  <a:gd name="T37" fmla="*/ 437 h 502"/>
                  <a:gd name="T38" fmla="*/ 297 w 586"/>
                  <a:gd name="T39" fmla="*/ 407 h 502"/>
                  <a:gd name="T40" fmla="*/ 333 w 586"/>
                  <a:gd name="T41" fmla="*/ 376 h 502"/>
                  <a:gd name="T42" fmla="*/ 356 w 586"/>
                  <a:gd name="T43" fmla="*/ 383 h 502"/>
                  <a:gd name="T44" fmla="*/ 494 w 586"/>
                  <a:gd name="T45" fmla="*/ 330 h 502"/>
                  <a:gd name="T46" fmla="*/ 540 w 586"/>
                  <a:gd name="T47" fmla="*/ 381 h 502"/>
                  <a:gd name="T48" fmla="*/ 586 w 586"/>
                  <a:gd name="T49" fmla="*/ 335 h 502"/>
                  <a:gd name="T50" fmla="*/ 586 w 586"/>
                  <a:gd name="T51" fmla="*/ 2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86" h="502">
                    <a:moveTo>
                      <a:pt x="495" y="229"/>
                    </a:moveTo>
                    <a:cubicBezTo>
                      <a:pt x="468" y="143"/>
                      <a:pt x="388" y="80"/>
                      <a:pt x="293" y="80"/>
                    </a:cubicBezTo>
                    <a:cubicBezTo>
                      <a:pt x="198" y="80"/>
                      <a:pt x="118" y="143"/>
                      <a:pt x="91" y="229"/>
                    </a:cubicBezTo>
                    <a:cubicBezTo>
                      <a:pt x="89" y="217"/>
                      <a:pt x="83" y="206"/>
                      <a:pt x="74" y="199"/>
                    </a:cubicBezTo>
                    <a:cubicBezTo>
                      <a:pt x="106" y="106"/>
                      <a:pt x="190" y="42"/>
                      <a:pt x="291" y="42"/>
                    </a:cubicBezTo>
                    <a:cubicBezTo>
                      <a:pt x="394" y="42"/>
                      <a:pt x="479" y="106"/>
                      <a:pt x="512" y="199"/>
                    </a:cubicBezTo>
                    <a:cubicBezTo>
                      <a:pt x="503" y="206"/>
                      <a:pt x="496" y="217"/>
                      <a:pt x="495" y="229"/>
                    </a:cubicBezTo>
                    <a:close/>
                    <a:moveTo>
                      <a:pt x="586" y="235"/>
                    </a:moveTo>
                    <a:cubicBezTo>
                      <a:pt x="586" y="215"/>
                      <a:pt x="572" y="198"/>
                      <a:pt x="554" y="192"/>
                    </a:cubicBezTo>
                    <a:cubicBezTo>
                      <a:pt x="517" y="79"/>
                      <a:pt x="415" y="0"/>
                      <a:pt x="291" y="0"/>
                    </a:cubicBezTo>
                    <a:cubicBezTo>
                      <a:pt x="169" y="0"/>
                      <a:pt x="68" y="79"/>
                      <a:pt x="32" y="192"/>
                    </a:cubicBezTo>
                    <a:cubicBezTo>
                      <a:pt x="13" y="198"/>
                      <a:pt x="0" y="215"/>
                      <a:pt x="0" y="235"/>
                    </a:cubicBezTo>
                    <a:lnTo>
                      <a:pt x="0" y="335"/>
                    </a:lnTo>
                    <a:cubicBezTo>
                      <a:pt x="0" y="360"/>
                      <a:pt x="21" y="381"/>
                      <a:pt x="46" y="381"/>
                    </a:cubicBezTo>
                    <a:cubicBezTo>
                      <a:pt x="67" y="381"/>
                      <a:pt x="84" y="367"/>
                      <a:pt x="90" y="347"/>
                    </a:cubicBezTo>
                    <a:cubicBezTo>
                      <a:pt x="114" y="437"/>
                      <a:pt x="196" y="502"/>
                      <a:pt x="293" y="502"/>
                    </a:cubicBezTo>
                    <a:cubicBezTo>
                      <a:pt x="375" y="502"/>
                      <a:pt x="446" y="455"/>
                      <a:pt x="481" y="387"/>
                    </a:cubicBezTo>
                    <a:cubicBezTo>
                      <a:pt x="436" y="410"/>
                      <a:pt x="389" y="420"/>
                      <a:pt x="362" y="424"/>
                    </a:cubicBezTo>
                    <a:cubicBezTo>
                      <a:pt x="356" y="432"/>
                      <a:pt x="345" y="437"/>
                      <a:pt x="333" y="437"/>
                    </a:cubicBezTo>
                    <a:cubicBezTo>
                      <a:pt x="313" y="437"/>
                      <a:pt x="297" y="424"/>
                      <a:pt x="297" y="407"/>
                    </a:cubicBezTo>
                    <a:cubicBezTo>
                      <a:pt x="297" y="390"/>
                      <a:pt x="313" y="376"/>
                      <a:pt x="333" y="376"/>
                    </a:cubicBezTo>
                    <a:cubicBezTo>
                      <a:pt x="341" y="376"/>
                      <a:pt x="349" y="378"/>
                      <a:pt x="356" y="383"/>
                    </a:cubicBezTo>
                    <a:cubicBezTo>
                      <a:pt x="386" y="378"/>
                      <a:pt x="446" y="365"/>
                      <a:pt x="494" y="330"/>
                    </a:cubicBezTo>
                    <a:cubicBezTo>
                      <a:pt x="494" y="362"/>
                      <a:pt x="515" y="381"/>
                      <a:pt x="540" y="381"/>
                    </a:cubicBezTo>
                    <a:cubicBezTo>
                      <a:pt x="565" y="381"/>
                      <a:pt x="586" y="360"/>
                      <a:pt x="586" y="335"/>
                    </a:cubicBezTo>
                    <a:lnTo>
                      <a:pt x="586" y="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7" name="Hotline">
              <a:extLst>
                <a:ext uri="{FF2B5EF4-FFF2-40B4-BE49-F238E27FC236}">
                  <a16:creationId xmlns:a16="http://schemas.microsoft.com/office/drawing/2014/main" id="{11BA4651-972D-4532-BC83-3386AFF8F065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399531" y="56422"/>
              <a:ext cx="313308" cy="306467"/>
              <a:chOff x="5729289" y="344488"/>
              <a:chExt cx="727075" cy="711201"/>
            </a:xfrm>
            <a:grpFill/>
          </p:grpSpPr>
          <p:sp>
            <p:nvSpPr>
              <p:cNvPr id="78" name="Freeform 239">
                <a:extLst>
                  <a:ext uri="{FF2B5EF4-FFF2-40B4-BE49-F238E27FC236}">
                    <a16:creationId xmlns:a16="http://schemas.microsoft.com/office/drawing/2014/main" id="{9DCC7D17-99EA-45CA-BF50-4C8DD8D97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9476" y="639763"/>
                <a:ext cx="125413" cy="204788"/>
              </a:xfrm>
              <a:custGeom>
                <a:avLst/>
                <a:gdLst>
                  <a:gd name="T0" fmla="*/ 147 w 182"/>
                  <a:gd name="T1" fmla="*/ 169 h 296"/>
                  <a:gd name="T2" fmla="*/ 180 w 182"/>
                  <a:gd name="T3" fmla="*/ 86 h 296"/>
                  <a:gd name="T4" fmla="*/ 157 w 182"/>
                  <a:gd name="T5" fmla="*/ 24 h 296"/>
                  <a:gd name="T6" fmla="*/ 93 w 182"/>
                  <a:gd name="T7" fmla="*/ 0 h 296"/>
                  <a:gd name="T8" fmla="*/ 31 w 182"/>
                  <a:gd name="T9" fmla="*/ 23 h 296"/>
                  <a:gd name="T10" fmla="*/ 0 w 182"/>
                  <a:gd name="T11" fmla="*/ 90 h 296"/>
                  <a:gd name="T12" fmla="*/ 43 w 182"/>
                  <a:gd name="T13" fmla="*/ 99 h 296"/>
                  <a:gd name="T14" fmla="*/ 90 w 182"/>
                  <a:gd name="T15" fmla="*/ 40 h 296"/>
                  <a:gd name="T16" fmla="*/ 120 w 182"/>
                  <a:gd name="T17" fmla="*/ 54 h 296"/>
                  <a:gd name="T18" fmla="*/ 131 w 182"/>
                  <a:gd name="T19" fmla="*/ 89 h 296"/>
                  <a:gd name="T20" fmla="*/ 107 w 182"/>
                  <a:gd name="T21" fmla="*/ 149 h 296"/>
                  <a:gd name="T22" fmla="*/ 0 w 182"/>
                  <a:gd name="T23" fmla="*/ 255 h 296"/>
                  <a:gd name="T24" fmla="*/ 0 w 182"/>
                  <a:gd name="T25" fmla="*/ 296 h 296"/>
                  <a:gd name="T26" fmla="*/ 180 w 182"/>
                  <a:gd name="T27" fmla="*/ 296 h 296"/>
                  <a:gd name="T28" fmla="*/ 182 w 182"/>
                  <a:gd name="T29" fmla="*/ 254 h 296"/>
                  <a:gd name="T30" fmla="*/ 51 w 182"/>
                  <a:gd name="T31" fmla="*/ 254 h 296"/>
                  <a:gd name="T32" fmla="*/ 147 w 182"/>
                  <a:gd name="T33" fmla="*/ 169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296">
                    <a:moveTo>
                      <a:pt x="147" y="169"/>
                    </a:moveTo>
                    <a:cubicBezTo>
                      <a:pt x="169" y="142"/>
                      <a:pt x="180" y="115"/>
                      <a:pt x="180" y="86"/>
                    </a:cubicBezTo>
                    <a:cubicBezTo>
                      <a:pt x="180" y="61"/>
                      <a:pt x="173" y="40"/>
                      <a:pt x="157" y="24"/>
                    </a:cubicBezTo>
                    <a:cubicBezTo>
                      <a:pt x="142" y="8"/>
                      <a:pt x="120" y="0"/>
                      <a:pt x="93" y="0"/>
                    </a:cubicBezTo>
                    <a:cubicBezTo>
                      <a:pt x="68" y="0"/>
                      <a:pt x="47" y="8"/>
                      <a:pt x="31" y="23"/>
                    </a:cubicBezTo>
                    <a:cubicBezTo>
                      <a:pt x="15" y="38"/>
                      <a:pt x="5" y="60"/>
                      <a:pt x="0" y="90"/>
                    </a:cubicBezTo>
                    <a:lnTo>
                      <a:pt x="43" y="99"/>
                    </a:lnTo>
                    <a:cubicBezTo>
                      <a:pt x="48" y="60"/>
                      <a:pt x="64" y="40"/>
                      <a:pt x="90" y="40"/>
                    </a:cubicBezTo>
                    <a:cubicBezTo>
                      <a:pt x="103" y="40"/>
                      <a:pt x="112" y="45"/>
                      <a:pt x="120" y="54"/>
                    </a:cubicBezTo>
                    <a:cubicBezTo>
                      <a:pt x="127" y="63"/>
                      <a:pt x="131" y="75"/>
                      <a:pt x="131" y="89"/>
                    </a:cubicBezTo>
                    <a:cubicBezTo>
                      <a:pt x="131" y="107"/>
                      <a:pt x="123" y="126"/>
                      <a:pt x="107" y="149"/>
                    </a:cubicBezTo>
                    <a:cubicBezTo>
                      <a:pt x="92" y="171"/>
                      <a:pt x="56" y="206"/>
                      <a:pt x="0" y="255"/>
                    </a:cubicBezTo>
                    <a:lnTo>
                      <a:pt x="0" y="296"/>
                    </a:lnTo>
                    <a:lnTo>
                      <a:pt x="180" y="296"/>
                    </a:lnTo>
                    <a:lnTo>
                      <a:pt x="182" y="254"/>
                    </a:lnTo>
                    <a:lnTo>
                      <a:pt x="51" y="254"/>
                    </a:lnTo>
                    <a:cubicBezTo>
                      <a:pt x="93" y="223"/>
                      <a:pt x="125" y="195"/>
                      <a:pt x="147" y="16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40">
                <a:extLst>
                  <a:ext uri="{FF2B5EF4-FFF2-40B4-BE49-F238E27FC236}">
                    <a16:creationId xmlns:a16="http://schemas.microsoft.com/office/drawing/2014/main" id="{7E91AE53-723C-4127-B170-426300F8F2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03939" y="639763"/>
                <a:ext cx="134938" cy="204788"/>
              </a:xfrm>
              <a:custGeom>
                <a:avLst/>
                <a:gdLst>
                  <a:gd name="T0" fmla="*/ 115 w 196"/>
                  <a:gd name="T1" fmla="*/ 192 h 296"/>
                  <a:gd name="T2" fmla="*/ 38 w 196"/>
                  <a:gd name="T3" fmla="*/ 192 h 296"/>
                  <a:gd name="T4" fmla="*/ 115 w 196"/>
                  <a:gd name="T5" fmla="*/ 43 h 296"/>
                  <a:gd name="T6" fmla="*/ 115 w 196"/>
                  <a:gd name="T7" fmla="*/ 192 h 296"/>
                  <a:gd name="T8" fmla="*/ 196 w 196"/>
                  <a:gd name="T9" fmla="*/ 190 h 296"/>
                  <a:gd name="T10" fmla="*/ 160 w 196"/>
                  <a:gd name="T11" fmla="*/ 190 h 296"/>
                  <a:gd name="T12" fmla="*/ 160 w 196"/>
                  <a:gd name="T13" fmla="*/ 0 h 296"/>
                  <a:gd name="T14" fmla="*/ 105 w 196"/>
                  <a:gd name="T15" fmla="*/ 0 h 296"/>
                  <a:gd name="T16" fmla="*/ 0 w 196"/>
                  <a:gd name="T17" fmla="*/ 192 h 296"/>
                  <a:gd name="T18" fmla="*/ 0 w 196"/>
                  <a:gd name="T19" fmla="*/ 227 h 296"/>
                  <a:gd name="T20" fmla="*/ 113 w 196"/>
                  <a:gd name="T21" fmla="*/ 227 h 296"/>
                  <a:gd name="T22" fmla="*/ 113 w 196"/>
                  <a:gd name="T23" fmla="*/ 296 h 296"/>
                  <a:gd name="T24" fmla="*/ 160 w 196"/>
                  <a:gd name="T25" fmla="*/ 296 h 296"/>
                  <a:gd name="T26" fmla="*/ 160 w 196"/>
                  <a:gd name="T27" fmla="*/ 227 h 296"/>
                  <a:gd name="T28" fmla="*/ 196 w 196"/>
                  <a:gd name="T29" fmla="*/ 227 h 296"/>
                  <a:gd name="T30" fmla="*/ 196 w 196"/>
                  <a:gd name="T31" fmla="*/ 19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6" h="296">
                    <a:moveTo>
                      <a:pt x="115" y="192"/>
                    </a:moveTo>
                    <a:lnTo>
                      <a:pt x="38" y="192"/>
                    </a:lnTo>
                    <a:lnTo>
                      <a:pt x="115" y="43"/>
                    </a:lnTo>
                    <a:lnTo>
                      <a:pt x="115" y="192"/>
                    </a:lnTo>
                    <a:close/>
                    <a:moveTo>
                      <a:pt x="196" y="190"/>
                    </a:moveTo>
                    <a:lnTo>
                      <a:pt x="160" y="190"/>
                    </a:lnTo>
                    <a:lnTo>
                      <a:pt x="160" y="0"/>
                    </a:lnTo>
                    <a:lnTo>
                      <a:pt x="105" y="0"/>
                    </a:lnTo>
                    <a:lnTo>
                      <a:pt x="0" y="192"/>
                    </a:lnTo>
                    <a:lnTo>
                      <a:pt x="0" y="227"/>
                    </a:lnTo>
                    <a:lnTo>
                      <a:pt x="113" y="227"/>
                    </a:lnTo>
                    <a:lnTo>
                      <a:pt x="113" y="296"/>
                    </a:lnTo>
                    <a:lnTo>
                      <a:pt x="160" y="296"/>
                    </a:lnTo>
                    <a:lnTo>
                      <a:pt x="160" y="227"/>
                    </a:lnTo>
                    <a:lnTo>
                      <a:pt x="196" y="227"/>
                    </a:lnTo>
                    <a:lnTo>
                      <a:pt x="196" y="19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41">
                <a:extLst>
                  <a:ext uri="{FF2B5EF4-FFF2-40B4-BE49-F238E27FC236}">
                    <a16:creationId xmlns:a16="http://schemas.microsoft.com/office/drawing/2014/main" id="{F1D54BE7-5FBB-4D8A-A9A4-9B954507D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9289" y="344488"/>
                <a:ext cx="469900" cy="457200"/>
              </a:xfrm>
              <a:custGeom>
                <a:avLst/>
                <a:gdLst>
                  <a:gd name="T0" fmla="*/ 178 w 679"/>
                  <a:gd name="T1" fmla="*/ 628 h 659"/>
                  <a:gd name="T2" fmla="*/ 269 w 679"/>
                  <a:gd name="T3" fmla="*/ 449 h 659"/>
                  <a:gd name="T4" fmla="*/ 240 w 679"/>
                  <a:gd name="T5" fmla="*/ 413 h 659"/>
                  <a:gd name="T6" fmla="*/ 179 w 679"/>
                  <a:gd name="T7" fmla="*/ 404 h 659"/>
                  <a:gd name="T8" fmla="*/ 151 w 679"/>
                  <a:gd name="T9" fmla="*/ 380 h 659"/>
                  <a:gd name="T10" fmla="*/ 264 w 679"/>
                  <a:gd name="T11" fmla="*/ 249 h 659"/>
                  <a:gd name="T12" fmla="*/ 402 w 679"/>
                  <a:gd name="T13" fmla="*/ 143 h 659"/>
                  <a:gd name="T14" fmla="*/ 424 w 679"/>
                  <a:gd name="T15" fmla="*/ 171 h 659"/>
                  <a:gd name="T16" fmla="*/ 429 w 679"/>
                  <a:gd name="T17" fmla="*/ 233 h 659"/>
                  <a:gd name="T18" fmla="*/ 464 w 679"/>
                  <a:gd name="T19" fmla="*/ 264 h 659"/>
                  <a:gd name="T20" fmla="*/ 648 w 679"/>
                  <a:gd name="T21" fmla="*/ 183 h 659"/>
                  <a:gd name="T22" fmla="*/ 662 w 679"/>
                  <a:gd name="T23" fmla="*/ 124 h 659"/>
                  <a:gd name="T24" fmla="*/ 467 w 679"/>
                  <a:gd name="T25" fmla="*/ 18 h 659"/>
                  <a:gd name="T26" fmla="*/ 182 w 679"/>
                  <a:gd name="T27" fmla="*/ 162 h 659"/>
                  <a:gd name="T28" fmla="*/ 23 w 679"/>
                  <a:gd name="T29" fmla="*/ 439 h 659"/>
                  <a:gd name="T30" fmla="*/ 119 w 679"/>
                  <a:gd name="T31" fmla="*/ 639 h 659"/>
                  <a:gd name="T32" fmla="*/ 178 w 679"/>
                  <a:gd name="T33" fmla="*/ 628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9" h="659">
                    <a:moveTo>
                      <a:pt x="178" y="628"/>
                    </a:moveTo>
                    <a:cubicBezTo>
                      <a:pt x="201" y="590"/>
                      <a:pt x="251" y="499"/>
                      <a:pt x="269" y="449"/>
                    </a:cubicBezTo>
                    <a:cubicBezTo>
                      <a:pt x="273" y="439"/>
                      <a:pt x="261" y="422"/>
                      <a:pt x="240" y="413"/>
                    </a:cubicBezTo>
                    <a:cubicBezTo>
                      <a:pt x="227" y="407"/>
                      <a:pt x="198" y="403"/>
                      <a:pt x="179" y="404"/>
                    </a:cubicBezTo>
                    <a:cubicBezTo>
                      <a:pt x="164" y="405"/>
                      <a:pt x="144" y="398"/>
                      <a:pt x="151" y="380"/>
                    </a:cubicBezTo>
                    <a:cubicBezTo>
                      <a:pt x="164" y="351"/>
                      <a:pt x="210" y="300"/>
                      <a:pt x="264" y="249"/>
                    </a:cubicBezTo>
                    <a:cubicBezTo>
                      <a:pt x="318" y="198"/>
                      <a:pt x="372" y="154"/>
                      <a:pt x="402" y="143"/>
                    </a:cubicBezTo>
                    <a:cubicBezTo>
                      <a:pt x="419" y="136"/>
                      <a:pt x="426" y="156"/>
                      <a:pt x="424" y="171"/>
                    </a:cubicBezTo>
                    <a:cubicBezTo>
                      <a:pt x="422" y="190"/>
                      <a:pt x="425" y="220"/>
                      <a:pt x="429" y="233"/>
                    </a:cubicBezTo>
                    <a:cubicBezTo>
                      <a:pt x="437" y="255"/>
                      <a:pt x="454" y="267"/>
                      <a:pt x="464" y="264"/>
                    </a:cubicBezTo>
                    <a:cubicBezTo>
                      <a:pt x="514" y="248"/>
                      <a:pt x="609" y="204"/>
                      <a:pt x="648" y="183"/>
                    </a:cubicBezTo>
                    <a:cubicBezTo>
                      <a:pt x="679" y="166"/>
                      <a:pt x="679" y="152"/>
                      <a:pt x="662" y="124"/>
                    </a:cubicBezTo>
                    <a:cubicBezTo>
                      <a:pt x="637" y="84"/>
                      <a:pt x="564" y="0"/>
                      <a:pt x="467" y="18"/>
                    </a:cubicBezTo>
                    <a:cubicBezTo>
                      <a:pt x="335" y="42"/>
                      <a:pt x="237" y="110"/>
                      <a:pt x="182" y="162"/>
                    </a:cubicBezTo>
                    <a:cubicBezTo>
                      <a:pt x="127" y="214"/>
                      <a:pt x="54" y="309"/>
                      <a:pt x="23" y="439"/>
                    </a:cubicBezTo>
                    <a:cubicBezTo>
                      <a:pt x="0" y="535"/>
                      <a:pt x="81" y="612"/>
                      <a:pt x="119" y="639"/>
                    </a:cubicBezTo>
                    <a:cubicBezTo>
                      <a:pt x="146" y="657"/>
                      <a:pt x="160" y="659"/>
                      <a:pt x="178" y="62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42">
                <a:extLst>
                  <a:ext uri="{FF2B5EF4-FFF2-40B4-BE49-F238E27FC236}">
                    <a16:creationId xmlns:a16="http://schemas.microsoft.com/office/drawing/2014/main" id="{30E585B1-D084-44FC-B2E1-CCC50EE4D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26" y="873126"/>
                <a:ext cx="66675" cy="66675"/>
              </a:xfrm>
              <a:custGeom>
                <a:avLst/>
                <a:gdLst>
                  <a:gd name="T0" fmla="*/ 61 w 96"/>
                  <a:gd name="T1" fmla="*/ 0 h 95"/>
                  <a:gd name="T2" fmla="*/ 0 w 96"/>
                  <a:gd name="T3" fmla="*/ 35 h 95"/>
                  <a:gd name="T4" fmla="*/ 41 w 96"/>
                  <a:gd name="T5" fmla="*/ 95 h 95"/>
                  <a:gd name="T6" fmla="*/ 96 w 96"/>
                  <a:gd name="T7" fmla="*/ 52 h 95"/>
                  <a:gd name="T8" fmla="*/ 61 w 96"/>
                  <a:gd name="T9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95">
                    <a:moveTo>
                      <a:pt x="61" y="0"/>
                    </a:moveTo>
                    <a:lnTo>
                      <a:pt x="0" y="35"/>
                    </a:lnTo>
                    <a:cubicBezTo>
                      <a:pt x="12" y="57"/>
                      <a:pt x="26" y="77"/>
                      <a:pt x="41" y="95"/>
                    </a:cubicBezTo>
                    <a:lnTo>
                      <a:pt x="96" y="52"/>
                    </a:lnTo>
                    <a:cubicBezTo>
                      <a:pt x="83" y="36"/>
                      <a:pt x="72" y="19"/>
                      <a:pt x="6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43">
                <a:extLst>
                  <a:ext uri="{FF2B5EF4-FFF2-40B4-BE49-F238E27FC236}">
                    <a16:creationId xmlns:a16="http://schemas.microsoft.com/office/drawing/2014/main" id="{F997BA4D-657F-449B-A61B-8B9FCB761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6" y="939801"/>
                <a:ext cx="69850" cy="69850"/>
              </a:xfrm>
              <a:custGeom>
                <a:avLst/>
                <a:gdLst>
                  <a:gd name="T0" fmla="*/ 0 w 100"/>
                  <a:gd name="T1" fmla="*/ 52 h 99"/>
                  <a:gd name="T2" fmla="*/ 63 w 100"/>
                  <a:gd name="T3" fmla="*/ 99 h 99"/>
                  <a:gd name="T4" fmla="*/ 100 w 100"/>
                  <a:gd name="T5" fmla="*/ 39 h 99"/>
                  <a:gd name="T6" fmla="*/ 47 w 100"/>
                  <a:gd name="T7" fmla="*/ 0 h 99"/>
                  <a:gd name="T8" fmla="*/ 0 w 100"/>
                  <a:gd name="T9" fmla="*/ 5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99">
                    <a:moveTo>
                      <a:pt x="0" y="52"/>
                    </a:moveTo>
                    <a:cubicBezTo>
                      <a:pt x="20" y="70"/>
                      <a:pt x="41" y="85"/>
                      <a:pt x="63" y="99"/>
                    </a:cubicBezTo>
                    <a:lnTo>
                      <a:pt x="100" y="39"/>
                    </a:lnTo>
                    <a:cubicBezTo>
                      <a:pt x="81" y="28"/>
                      <a:pt x="63" y="15"/>
                      <a:pt x="47" y="0"/>
                    </a:cubicBezTo>
                    <a:lnTo>
                      <a:pt x="0" y="5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44">
                <a:extLst>
                  <a:ext uri="{FF2B5EF4-FFF2-40B4-BE49-F238E27FC236}">
                    <a16:creationId xmlns:a16="http://schemas.microsoft.com/office/drawing/2014/main" id="{AF2E3876-22CB-4E34-9373-5D261C23F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876" y="989013"/>
                <a:ext cx="66675" cy="61913"/>
              </a:xfrm>
              <a:custGeom>
                <a:avLst/>
                <a:gdLst>
                  <a:gd name="T0" fmla="*/ 0 w 96"/>
                  <a:gd name="T1" fmla="*/ 65 h 89"/>
                  <a:gd name="T2" fmla="*/ 82 w 96"/>
                  <a:gd name="T3" fmla="*/ 89 h 89"/>
                  <a:gd name="T4" fmla="*/ 96 w 96"/>
                  <a:gd name="T5" fmla="*/ 20 h 89"/>
                  <a:gd name="T6" fmla="*/ 25 w 96"/>
                  <a:gd name="T7" fmla="*/ 0 h 89"/>
                  <a:gd name="T8" fmla="*/ 0 w 96"/>
                  <a:gd name="T9" fmla="*/ 6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89">
                    <a:moveTo>
                      <a:pt x="0" y="65"/>
                    </a:moveTo>
                    <a:cubicBezTo>
                      <a:pt x="26" y="76"/>
                      <a:pt x="54" y="83"/>
                      <a:pt x="82" y="89"/>
                    </a:cubicBezTo>
                    <a:lnTo>
                      <a:pt x="96" y="20"/>
                    </a:lnTo>
                    <a:cubicBezTo>
                      <a:pt x="72" y="15"/>
                      <a:pt x="48" y="9"/>
                      <a:pt x="25" y="0"/>
                    </a:cubicBezTo>
                    <a:lnTo>
                      <a:pt x="0" y="6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245">
                <a:extLst>
                  <a:ext uri="{FF2B5EF4-FFF2-40B4-BE49-F238E27FC236}">
                    <a16:creationId xmlns:a16="http://schemas.microsoft.com/office/drawing/2014/main" id="{8AF6F0F6-93EC-4777-A037-E45392021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8239" y="588963"/>
                <a:ext cx="238125" cy="433388"/>
              </a:xfrm>
              <a:custGeom>
                <a:avLst/>
                <a:gdLst>
                  <a:gd name="T0" fmla="*/ 160 w 344"/>
                  <a:gd name="T1" fmla="*/ 35 h 625"/>
                  <a:gd name="T2" fmla="*/ 16 w 344"/>
                  <a:gd name="T3" fmla="*/ 556 h 625"/>
                  <a:gd name="T4" fmla="*/ 0 w 344"/>
                  <a:gd name="T5" fmla="*/ 564 h 625"/>
                  <a:gd name="T6" fmla="*/ 35 w 344"/>
                  <a:gd name="T7" fmla="*/ 625 h 625"/>
                  <a:gd name="T8" fmla="*/ 51 w 344"/>
                  <a:gd name="T9" fmla="*/ 617 h 625"/>
                  <a:gd name="T10" fmla="*/ 222 w 344"/>
                  <a:gd name="T11" fmla="*/ 0 h 625"/>
                  <a:gd name="T12" fmla="*/ 160 w 344"/>
                  <a:gd name="T13" fmla="*/ 35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4" h="625">
                    <a:moveTo>
                      <a:pt x="160" y="35"/>
                    </a:moveTo>
                    <a:cubicBezTo>
                      <a:pt x="264" y="219"/>
                      <a:pt x="199" y="452"/>
                      <a:pt x="16" y="556"/>
                    </a:cubicBezTo>
                    <a:cubicBezTo>
                      <a:pt x="11" y="559"/>
                      <a:pt x="6" y="561"/>
                      <a:pt x="0" y="564"/>
                    </a:cubicBezTo>
                    <a:lnTo>
                      <a:pt x="35" y="625"/>
                    </a:lnTo>
                    <a:cubicBezTo>
                      <a:pt x="40" y="623"/>
                      <a:pt x="45" y="620"/>
                      <a:pt x="51" y="617"/>
                    </a:cubicBezTo>
                    <a:cubicBezTo>
                      <a:pt x="268" y="494"/>
                      <a:pt x="344" y="218"/>
                      <a:pt x="222" y="0"/>
                    </a:cubicBezTo>
                    <a:lnTo>
                      <a:pt x="160" y="3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246">
                <a:extLst>
                  <a:ext uri="{FF2B5EF4-FFF2-40B4-BE49-F238E27FC236}">
                    <a16:creationId xmlns:a16="http://schemas.microsoft.com/office/drawing/2014/main" id="{152F0776-4EFA-41D1-B477-0BF9B5B56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2351" y="1000126"/>
                <a:ext cx="71438" cy="55563"/>
              </a:xfrm>
              <a:custGeom>
                <a:avLst/>
                <a:gdLst>
                  <a:gd name="T0" fmla="*/ 0 w 101"/>
                  <a:gd name="T1" fmla="*/ 11 h 81"/>
                  <a:gd name="T2" fmla="*/ 1 w 101"/>
                  <a:gd name="T3" fmla="*/ 81 h 81"/>
                  <a:gd name="T4" fmla="*/ 101 w 101"/>
                  <a:gd name="T5" fmla="*/ 68 h 81"/>
                  <a:gd name="T6" fmla="*/ 85 w 101"/>
                  <a:gd name="T7" fmla="*/ 0 h 81"/>
                  <a:gd name="T8" fmla="*/ 0 w 101"/>
                  <a:gd name="T9" fmla="*/ 1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81">
                    <a:moveTo>
                      <a:pt x="0" y="11"/>
                    </a:moveTo>
                    <a:lnTo>
                      <a:pt x="1" y="81"/>
                    </a:lnTo>
                    <a:cubicBezTo>
                      <a:pt x="34" y="81"/>
                      <a:pt x="68" y="76"/>
                      <a:pt x="101" y="68"/>
                    </a:cubicBezTo>
                    <a:lnTo>
                      <a:pt x="85" y="0"/>
                    </a:lnTo>
                    <a:cubicBezTo>
                      <a:pt x="57" y="7"/>
                      <a:pt x="29" y="11"/>
                      <a:pt x="0" y="1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247">
                <a:extLst>
                  <a:ext uri="{FF2B5EF4-FFF2-40B4-BE49-F238E27FC236}">
                    <a16:creationId xmlns:a16="http://schemas.microsoft.com/office/drawing/2014/main" id="{11168CA2-3FA9-4DB1-84C3-E1CB8D735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9" y="496888"/>
                <a:ext cx="123825" cy="112713"/>
              </a:xfrm>
              <a:custGeom>
                <a:avLst/>
                <a:gdLst>
                  <a:gd name="T0" fmla="*/ 20 w 178"/>
                  <a:gd name="T1" fmla="*/ 0 h 163"/>
                  <a:gd name="T2" fmla="*/ 0 w 178"/>
                  <a:gd name="T3" fmla="*/ 163 h 163"/>
                  <a:gd name="T4" fmla="*/ 178 w 178"/>
                  <a:gd name="T5" fmla="*/ 47 h 163"/>
                  <a:gd name="T6" fmla="*/ 20 w 178"/>
                  <a:gd name="T7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" h="163">
                    <a:moveTo>
                      <a:pt x="20" y="0"/>
                    </a:moveTo>
                    <a:cubicBezTo>
                      <a:pt x="15" y="45"/>
                      <a:pt x="4" y="123"/>
                      <a:pt x="0" y="163"/>
                    </a:cubicBezTo>
                    <a:cubicBezTo>
                      <a:pt x="17" y="152"/>
                      <a:pt x="161" y="58"/>
                      <a:pt x="178" y="47"/>
                    </a:cubicBezTo>
                    <a:cubicBezTo>
                      <a:pt x="139" y="35"/>
                      <a:pt x="63" y="13"/>
                      <a:pt x="20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7DD8AFE3-E9DE-4AFF-BEFF-755371574C8F}"/>
              </a:ext>
            </a:extLst>
          </p:cNvPr>
          <p:cNvSpPr/>
          <p:nvPr/>
        </p:nvSpPr>
        <p:spPr>
          <a:xfrm>
            <a:off x="1869617" y="1094250"/>
            <a:ext cx="4916631" cy="50737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CA" sz="1000" kern="0" dirty="0">
              <a:solidFill>
                <a:srgbClr val="626066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2B50F05-6571-49CF-A004-419588BB22C2}"/>
              </a:ext>
            </a:extLst>
          </p:cNvPr>
          <p:cNvSpPr/>
          <p:nvPr/>
        </p:nvSpPr>
        <p:spPr>
          <a:xfrm>
            <a:off x="1869617" y="1094250"/>
            <a:ext cx="4916106" cy="2659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Data Processing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DEB4AC3-B2CF-4CCA-806F-F24E06D2F1E4}"/>
              </a:ext>
            </a:extLst>
          </p:cNvPr>
          <p:cNvSpPr/>
          <p:nvPr/>
        </p:nvSpPr>
        <p:spPr>
          <a:xfrm>
            <a:off x="2017898" y="1571760"/>
            <a:ext cx="835030" cy="38119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Batch Processing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52591D4-EA16-4EB9-9B5F-E62F5E004598}"/>
              </a:ext>
            </a:extLst>
          </p:cNvPr>
          <p:cNvSpPr/>
          <p:nvPr/>
        </p:nvSpPr>
        <p:spPr>
          <a:xfrm>
            <a:off x="2017898" y="2202889"/>
            <a:ext cx="835030" cy="38119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Realtime Processing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BB6FD9F-5B8F-41CE-8854-92CDE558101A}"/>
              </a:ext>
            </a:extLst>
          </p:cNvPr>
          <p:cNvSpPr/>
          <p:nvPr/>
        </p:nvSpPr>
        <p:spPr>
          <a:xfrm>
            <a:off x="2017898" y="4122502"/>
            <a:ext cx="835030" cy="38119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Voice Processing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634691F6-BB5B-48AA-AEE7-7E210F0E2ED2}"/>
              </a:ext>
            </a:extLst>
          </p:cNvPr>
          <p:cNvGrpSpPr/>
          <p:nvPr/>
        </p:nvGrpSpPr>
        <p:grpSpPr>
          <a:xfrm>
            <a:off x="3416397" y="1823689"/>
            <a:ext cx="1427953" cy="1128306"/>
            <a:chOff x="5087888" y="836713"/>
            <a:chExt cx="2016224" cy="1128306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98D4EC9A-5306-414A-BF49-51924200F9E1}"/>
                </a:ext>
              </a:extLst>
            </p:cNvPr>
            <p:cNvSpPr/>
            <p:nvPr/>
          </p:nvSpPr>
          <p:spPr>
            <a:xfrm>
              <a:off x="5087888" y="836713"/>
              <a:ext cx="2016224" cy="112830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000" b="1" dirty="0">
                <a:solidFill>
                  <a:schemeClr val="tx1"/>
                </a:solidFill>
              </a:endParaRPr>
            </a:p>
            <a:p>
              <a:pPr algn="ctr"/>
              <a:endParaRPr lang="en-CA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6EA6BB7-3BB7-466C-B06A-6B74CB99ECF1}"/>
                </a:ext>
              </a:extLst>
            </p:cNvPr>
            <p:cNvSpPr/>
            <p:nvPr/>
          </p:nvSpPr>
          <p:spPr>
            <a:xfrm>
              <a:off x="5141894" y="959430"/>
              <a:ext cx="1908212" cy="4462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bg2"/>
                  </a:solidFill>
                </a:rPr>
                <a:t>Natural Language Processing (NLP) - Written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76EA824-A7C5-4CE3-AB4F-62D2630A0361}"/>
                </a:ext>
              </a:extLst>
            </p:cNvPr>
            <p:cNvSpPr/>
            <p:nvPr/>
          </p:nvSpPr>
          <p:spPr>
            <a:xfrm>
              <a:off x="5141894" y="1479333"/>
              <a:ext cx="1908212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tx1"/>
                  </a:solidFill>
                </a:rPr>
                <a:t>Text Pre-processing</a:t>
              </a:r>
            </a:p>
          </p:txBody>
        </p:sp>
      </p:grpSp>
      <p:sp>
        <p:nvSpPr>
          <p:cNvPr id="109" name="Rectangle 108">
            <a:extLst>
              <a:ext uri="{FF2B5EF4-FFF2-40B4-BE49-F238E27FC236}">
                <a16:creationId xmlns:a16="http://schemas.microsoft.com/office/drawing/2014/main" id="{189E255A-2C6E-4D02-BD3E-E82125965CA2}"/>
              </a:ext>
            </a:extLst>
          </p:cNvPr>
          <p:cNvSpPr/>
          <p:nvPr/>
        </p:nvSpPr>
        <p:spPr>
          <a:xfrm>
            <a:off x="5247421" y="4129376"/>
            <a:ext cx="1184270" cy="36000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Speech to Text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5B6A140-1349-4B06-B1D5-2E7525FE84C5}"/>
              </a:ext>
            </a:extLst>
          </p:cNvPr>
          <p:cNvSpPr/>
          <p:nvPr/>
        </p:nvSpPr>
        <p:spPr>
          <a:xfrm>
            <a:off x="5247421" y="4640543"/>
            <a:ext cx="1184270" cy="360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>
                <a:solidFill>
                  <a:schemeClr val="tx1"/>
                </a:solidFill>
              </a:rPr>
              <a:t>Signal Processing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46FDD524-9FD6-4E53-B435-6212B0F45D46}"/>
              </a:ext>
            </a:extLst>
          </p:cNvPr>
          <p:cNvCxnSpPr>
            <a:cxnSpLocks/>
            <a:stCxn id="109" idx="0"/>
            <a:endCxn id="103" idx="2"/>
          </p:cNvCxnSpPr>
          <p:nvPr/>
        </p:nvCxnSpPr>
        <p:spPr>
          <a:xfrm rot="16200000" flipV="1">
            <a:off x="4396275" y="2686095"/>
            <a:ext cx="1177381" cy="1709182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F94D84F5-EF6B-438D-9DB9-B905D0C1FF84}"/>
              </a:ext>
            </a:extLst>
          </p:cNvPr>
          <p:cNvCxnSpPr>
            <a:cxnSpLocks/>
            <a:stCxn id="98" idx="3"/>
            <a:endCxn id="103" idx="1"/>
          </p:cNvCxnSpPr>
          <p:nvPr/>
        </p:nvCxnSpPr>
        <p:spPr>
          <a:xfrm>
            <a:off x="2852928" y="1762356"/>
            <a:ext cx="563469" cy="625486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8553301-B23B-4DB0-9FBB-66DC3B7F7150}"/>
              </a:ext>
            </a:extLst>
          </p:cNvPr>
          <p:cNvCxnSpPr>
            <a:cxnSpLocks/>
            <a:stCxn id="100" idx="3"/>
            <a:endCxn id="103" idx="1"/>
          </p:cNvCxnSpPr>
          <p:nvPr/>
        </p:nvCxnSpPr>
        <p:spPr>
          <a:xfrm flipV="1">
            <a:off x="2852928" y="2387842"/>
            <a:ext cx="563469" cy="564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C4E5B820-C1F2-4E70-BC21-C5A15E00FC23}"/>
              </a:ext>
            </a:extLst>
          </p:cNvPr>
          <p:cNvGrpSpPr/>
          <p:nvPr/>
        </p:nvGrpSpPr>
        <p:grpSpPr>
          <a:xfrm>
            <a:off x="6898507" y="1092390"/>
            <a:ext cx="1466020" cy="5073798"/>
            <a:chOff x="6898507" y="1092390"/>
            <a:chExt cx="1431956" cy="5073798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AFEA994B-0F4B-4251-9B8D-5FCC8B672907}"/>
                </a:ext>
              </a:extLst>
            </p:cNvPr>
            <p:cNvSpPr/>
            <p:nvPr/>
          </p:nvSpPr>
          <p:spPr>
            <a:xfrm>
              <a:off x="6898507" y="1092390"/>
              <a:ext cx="1430838" cy="507379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AA3F8A70-31F3-49EA-A4E7-888D59A73125}"/>
                </a:ext>
              </a:extLst>
            </p:cNvPr>
            <p:cNvSpPr/>
            <p:nvPr/>
          </p:nvSpPr>
          <p:spPr>
            <a:xfrm>
              <a:off x="6901788" y="1092390"/>
              <a:ext cx="1428675" cy="26590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/>
                <a:t>Machine Learning Layer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8E242168-CC0A-4E02-9DEF-DA5879059D13}"/>
              </a:ext>
            </a:extLst>
          </p:cNvPr>
          <p:cNvGrpSpPr/>
          <p:nvPr/>
        </p:nvGrpSpPr>
        <p:grpSpPr>
          <a:xfrm>
            <a:off x="8441603" y="1092390"/>
            <a:ext cx="1917705" cy="5073798"/>
            <a:chOff x="8441604" y="1092390"/>
            <a:chExt cx="1431956" cy="5073798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5D9A23EF-35AF-4856-A91F-39B90337BBB9}"/>
                </a:ext>
              </a:extLst>
            </p:cNvPr>
            <p:cNvSpPr/>
            <p:nvPr/>
          </p:nvSpPr>
          <p:spPr>
            <a:xfrm>
              <a:off x="8441604" y="1092390"/>
              <a:ext cx="1430838" cy="507379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EC32316A-610C-4B68-BD34-BE15DBAFD882}"/>
                </a:ext>
              </a:extLst>
            </p:cNvPr>
            <p:cNvSpPr/>
            <p:nvPr/>
          </p:nvSpPr>
          <p:spPr>
            <a:xfrm>
              <a:off x="8444885" y="1092390"/>
              <a:ext cx="1428675" cy="26590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/>
                <a:t>Data  Analytics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CE773EE3-7D55-4DA1-894B-D8C86AFC4D3D}"/>
              </a:ext>
            </a:extLst>
          </p:cNvPr>
          <p:cNvGrpSpPr/>
          <p:nvPr/>
        </p:nvGrpSpPr>
        <p:grpSpPr>
          <a:xfrm>
            <a:off x="10457906" y="1098629"/>
            <a:ext cx="1431956" cy="5073798"/>
            <a:chOff x="8441604" y="1092390"/>
            <a:chExt cx="1431956" cy="5073798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7CD3936C-695C-4000-815C-3FA0EA61F700}"/>
                </a:ext>
              </a:extLst>
            </p:cNvPr>
            <p:cNvSpPr/>
            <p:nvPr/>
          </p:nvSpPr>
          <p:spPr>
            <a:xfrm>
              <a:off x="8441604" y="1092390"/>
              <a:ext cx="1430838" cy="50737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CA" sz="1000" kern="0" dirty="0">
                <a:solidFill>
                  <a:srgbClr val="626066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375F79E-4ED6-46C7-A57A-3081D98AFB22}"/>
                </a:ext>
              </a:extLst>
            </p:cNvPr>
            <p:cNvSpPr/>
            <p:nvPr/>
          </p:nvSpPr>
          <p:spPr>
            <a:xfrm>
              <a:off x="8444885" y="1092390"/>
              <a:ext cx="1428675" cy="26590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/>
                <a:t>Data Visualization</a:t>
              </a:r>
            </a:p>
          </p:txBody>
        </p:sp>
      </p:grp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F14C4E5-BF8D-4BEB-8381-34E885079DF7}"/>
              </a:ext>
            </a:extLst>
          </p:cNvPr>
          <p:cNvSpPr/>
          <p:nvPr/>
        </p:nvSpPr>
        <p:spPr>
          <a:xfrm>
            <a:off x="7031916" y="3084800"/>
            <a:ext cx="1212924" cy="38119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Topic Model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A467420-28BB-4473-8CAA-0537369EF50B}"/>
              </a:ext>
            </a:extLst>
          </p:cNvPr>
          <p:cNvSpPr/>
          <p:nvPr/>
        </p:nvSpPr>
        <p:spPr>
          <a:xfrm>
            <a:off x="7025055" y="3653257"/>
            <a:ext cx="1212924" cy="38119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Sentiment Model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2195642A-BDAC-42BE-8D31-31D2DB05F85A}"/>
              </a:ext>
            </a:extLst>
          </p:cNvPr>
          <p:cNvSpPr/>
          <p:nvPr/>
        </p:nvSpPr>
        <p:spPr>
          <a:xfrm>
            <a:off x="7025055" y="5324613"/>
            <a:ext cx="1212924" cy="38119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>
                <a:solidFill>
                  <a:schemeClr val="tx1"/>
                </a:solidFill>
              </a:rPr>
              <a:t>Emotion Detection</a:t>
            </a:r>
          </a:p>
        </p:txBody>
      </p: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7F59A09E-0CC1-4630-B8E9-CE954186F9B2}"/>
              </a:ext>
            </a:extLst>
          </p:cNvPr>
          <p:cNvCxnSpPr>
            <a:cxnSpLocks/>
            <a:stCxn id="103" idx="3"/>
            <a:endCxn id="128" idx="1"/>
          </p:cNvCxnSpPr>
          <p:nvPr/>
        </p:nvCxnSpPr>
        <p:spPr>
          <a:xfrm>
            <a:off x="4844350" y="2387842"/>
            <a:ext cx="2187566" cy="887554"/>
          </a:xfrm>
          <a:prstGeom prst="bentConnector3">
            <a:avLst>
              <a:gd name="adj1" fmla="val 76831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nector: Elbow 133">
            <a:extLst>
              <a:ext uri="{FF2B5EF4-FFF2-40B4-BE49-F238E27FC236}">
                <a16:creationId xmlns:a16="http://schemas.microsoft.com/office/drawing/2014/main" id="{3F9BA429-A340-4FA0-A20A-76A204D38926}"/>
              </a:ext>
            </a:extLst>
          </p:cNvPr>
          <p:cNvCxnSpPr>
            <a:cxnSpLocks/>
            <a:stCxn id="103" idx="3"/>
            <a:endCxn id="129" idx="1"/>
          </p:cNvCxnSpPr>
          <p:nvPr/>
        </p:nvCxnSpPr>
        <p:spPr>
          <a:xfrm>
            <a:off x="4844350" y="2387842"/>
            <a:ext cx="2180705" cy="1456011"/>
          </a:xfrm>
          <a:prstGeom prst="bentConnector3">
            <a:avLst>
              <a:gd name="adj1" fmla="val 7695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FE5A0072-F248-4C9A-9376-C1F0E7BA399D}"/>
              </a:ext>
            </a:extLst>
          </p:cNvPr>
          <p:cNvGrpSpPr/>
          <p:nvPr/>
        </p:nvGrpSpPr>
        <p:grpSpPr>
          <a:xfrm>
            <a:off x="8705244" y="2014285"/>
            <a:ext cx="1330296" cy="2272405"/>
            <a:chOff x="8705244" y="2014285"/>
            <a:chExt cx="1330296" cy="2272405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3470018C-BD9D-4263-B7AB-C575729F44BE}"/>
                </a:ext>
              </a:extLst>
            </p:cNvPr>
            <p:cNvSpPr/>
            <p:nvPr/>
          </p:nvSpPr>
          <p:spPr>
            <a:xfrm>
              <a:off x="8705245" y="2014285"/>
              <a:ext cx="1330295" cy="38119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/>
                <a:t>Statistical Analytics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5BC0C072-0E0F-43B5-A177-A6003A9B510D}"/>
                </a:ext>
              </a:extLst>
            </p:cNvPr>
            <p:cNvSpPr/>
            <p:nvPr/>
          </p:nvSpPr>
          <p:spPr>
            <a:xfrm>
              <a:off x="8705245" y="2491157"/>
              <a:ext cx="1330295" cy="38119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/>
                <a:t>Semantic Analytics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AD6D2021-0C2A-4EA7-8718-19410568F220}"/>
                </a:ext>
              </a:extLst>
            </p:cNvPr>
            <p:cNvSpPr/>
            <p:nvPr/>
          </p:nvSpPr>
          <p:spPr>
            <a:xfrm>
              <a:off x="8705244" y="3905498"/>
              <a:ext cx="1330295" cy="38119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tx1"/>
                  </a:solidFill>
                </a:rPr>
                <a:t>Predictive Modeling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105B7D75-2F11-478D-B1F3-F4314553183D}"/>
                </a:ext>
              </a:extLst>
            </p:cNvPr>
            <p:cNvSpPr/>
            <p:nvPr/>
          </p:nvSpPr>
          <p:spPr>
            <a:xfrm>
              <a:off x="8705245" y="2962604"/>
              <a:ext cx="1330295" cy="38119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tx1"/>
                  </a:solidFill>
                </a:rPr>
                <a:t>Text Analytics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A190A3F5-E6C0-45F8-9C7C-119A9E35C03D}"/>
                </a:ext>
              </a:extLst>
            </p:cNvPr>
            <p:cNvSpPr/>
            <p:nvPr/>
          </p:nvSpPr>
          <p:spPr>
            <a:xfrm>
              <a:off x="8705245" y="3434051"/>
              <a:ext cx="1330295" cy="38119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tx1"/>
                  </a:solidFill>
                </a:rPr>
                <a:t>Voice Analytics</a:t>
              </a:r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666205A-C82A-4929-BE83-9281CD0D7686}"/>
              </a:ext>
            </a:extLst>
          </p:cNvPr>
          <p:cNvSpPr/>
          <p:nvPr/>
        </p:nvSpPr>
        <p:spPr>
          <a:xfrm>
            <a:off x="8626945" y="1884220"/>
            <a:ext cx="1527705" cy="25506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152" name="Databas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98A3342-34D9-4BAB-84C7-3D08935D1BB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9126493" y="4734158"/>
            <a:ext cx="544273" cy="576000"/>
            <a:chOff x="-1607704" y="4375315"/>
            <a:chExt cx="357909" cy="378772"/>
          </a:xfrm>
          <a:solidFill>
            <a:schemeClr val="accent1"/>
          </a:solidFill>
        </p:grpSpPr>
        <p:sp>
          <p:nvSpPr>
            <p:cNvPr id="153" name="Flowchart: Magnetic Disk 152">
              <a:extLst>
                <a:ext uri="{FF2B5EF4-FFF2-40B4-BE49-F238E27FC236}">
                  <a16:creationId xmlns:a16="http://schemas.microsoft.com/office/drawing/2014/main" id="{C6B586CF-74E5-429E-8847-3FBC7B7ACD6D}"/>
                </a:ext>
              </a:extLst>
            </p:cNvPr>
            <p:cNvSpPr/>
            <p:nvPr/>
          </p:nvSpPr>
          <p:spPr>
            <a:xfrm>
              <a:off x="-1607704" y="4582410"/>
              <a:ext cx="357909" cy="171677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sp>
          <p:nvSpPr>
            <p:cNvPr id="154" name="Flowchart: Magnetic Disk 153">
              <a:extLst>
                <a:ext uri="{FF2B5EF4-FFF2-40B4-BE49-F238E27FC236}">
                  <a16:creationId xmlns:a16="http://schemas.microsoft.com/office/drawing/2014/main" id="{1BB90FBB-22BC-445B-A698-4D07C28AB190}"/>
                </a:ext>
              </a:extLst>
            </p:cNvPr>
            <p:cNvSpPr/>
            <p:nvPr/>
          </p:nvSpPr>
          <p:spPr>
            <a:xfrm>
              <a:off x="-1607704" y="4481556"/>
              <a:ext cx="357909" cy="171677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sp>
          <p:nvSpPr>
            <p:cNvPr id="155" name="Flowchart: Magnetic Disk 154">
              <a:extLst>
                <a:ext uri="{FF2B5EF4-FFF2-40B4-BE49-F238E27FC236}">
                  <a16:creationId xmlns:a16="http://schemas.microsoft.com/office/drawing/2014/main" id="{5AF624C1-BC81-49A1-BAAF-AC40A8503046}"/>
                </a:ext>
              </a:extLst>
            </p:cNvPr>
            <p:cNvSpPr/>
            <p:nvPr/>
          </p:nvSpPr>
          <p:spPr>
            <a:xfrm>
              <a:off x="-1607704" y="4375315"/>
              <a:ext cx="357909" cy="171677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3578FDC7-127F-4E9F-A655-046609BB9418}"/>
              </a:ext>
            </a:extLst>
          </p:cNvPr>
          <p:cNvCxnSpPr>
            <a:cxnSpLocks/>
            <a:stCxn id="151" idx="2"/>
            <a:endCxn id="155" idx="1"/>
          </p:cNvCxnSpPr>
          <p:nvPr/>
        </p:nvCxnSpPr>
        <p:spPr>
          <a:xfrm>
            <a:off x="9390798" y="4434840"/>
            <a:ext cx="7832" cy="2993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Image result for dashboard png">
            <a:extLst>
              <a:ext uri="{FF2B5EF4-FFF2-40B4-BE49-F238E27FC236}">
                <a16:creationId xmlns:a16="http://schemas.microsoft.com/office/drawing/2014/main" id="{745F8A59-5E73-4EB7-9AB2-5D4F9F55D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2673" y="2429417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2" descr="Image result for dashboard png">
            <a:extLst>
              <a:ext uri="{FF2B5EF4-FFF2-40B4-BE49-F238E27FC236}">
                <a16:creationId xmlns:a16="http://schemas.microsoft.com/office/drawing/2014/main" id="{B1AEA724-3DEE-401A-8A4F-F6A297AAF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273" y="2525937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Picture 2" descr="Image result for dashboard png">
            <a:extLst>
              <a:ext uri="{FF2B5EF4-FFF2-40B4-BE49-F238E27FC236}">
                <a16:creationId xmlns:a16="http://schemas.microsoft.com/office/drawing/2014/main" id="{9B27162C-1E32-4F27-80CC-074350DFA2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873" y="2642777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DBA43A91-9988-4233-BED6-A7A213AA2E81}"/>
              </a:ext>
            </a:extLst>
          </p:cNvPr>
          <p:cNvCxnSpPr>
            <a:cxnSpLocks/>
            <a:stCxn id="128" idx="3"/>
            <a:endCxn id="151" idx="1"/>
          </p:cNvCxnSpPr>
          <p:nvPr/>
        </p:nvCxnSpPr>
        <p:spPr>
          <a:xfrm flipV="1">
            <a:off x="8244840" y="3159530"/>
            <a:ext cx="382105" cy="11586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AA9D73E1-B944-4959-808D-5032B57D1B96}"/>
              </a:ext>
            </a:extLst>
          </p:cNvPr>
          <p:cNvCxnSpPr>
            <a:cxnSpLocks/>
            <a:stCxn id="129" idx="3"/>
            <a:endCxn id="151" idx="1"/>
          </p:cNvCxnSpPr>
          <p:nvPr/>
        </p:nvCxnSpPr>
        <p:spPr>
          <a:xfrm flipV="1">
            <a:off x="8237979" y="3159530"/>
            <a:ext cx="388966" cy="68432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C0583532-44BF-4FF3-B50D-67B4044E06E2}"/>
              </a:ext>
            </a:extLst>
          </p:cNvPr>
          <p:cNvCxnSpPr>
            <a:cxnSpLocks/>
            <a:stCxn id="130" idx="3"/>
            <a:endCxn id="151" idx="1"/>
          </p:cNvCxnSpPr>
          <p:nvPr/>
        </p:nvCxnSpPr>
        <p:spPr>
          <a:xfrm flipV="1">
            <a:off x="8237979" y="3159530"/>
            <a:ext cx="388966" cy="235567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95078D6F-A7C7-452C-B1C1-2653641F7BAD}"/>
              </a:ext>
            </a:extLst>
          </p:cNvPr>
          <p:cNvCxnSpPr>
            <a:cxnSpLocks/>
            <a:stCxn id="154" idx="4"/>
            <a:endCxn id="163" idx="2"/>
          </p:cNvCxnSpPr>
          <p:nvPr/>
        </p:nvCxnSpPr>
        <p:spPr>
          <a:xfrm flipV="1">
            <a:off x="9670766" y="3471674"/>
            <a:ext cx="1595211" cy="155458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Rectangle 176">
            <a:extLst>
              <a:ext uri="{FF2B5EF4-FFF2-40B4-BE49-F238E27FC236}">
                <a16:creationId xmlns:a16="http://schemas.microsoft.com/office/drawing/2014/main" id="{DEFA7676-6AB9-4D49-93F9-EBC959DF2B75}"/>
              </a:ext>
            </a:extLst>
          </p:cNvPr>
          <p:cNvSpPr/>
          <p:nvPr/>
        </p:nvSpPr>
        <p:spPr>
          <a:xfrm>
            <a:off x="355524" y="2332439"/>
            <a:ext cx="1428675" cy="265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Online Reviews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8FEAF2DD-4E79-468C-B421-3ED5089E0203}"/>
              </a:ext>
            </a:extLst>
          </p:cNvPr>
          <p:cNvSpPr/>
          <p:nvPr/>
        </p:nvSpPr>
        <p:spPr>
          <a:xfrm>
            <a:off x="347546" y="3914901"/>
            <a:ext cx="1428675" cy="265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Twitter Data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669D510A-1B53-45F6-8E54-D6B0BA6BF250}"/>
              </a:ext>
            </a:extLst>
          </p:cNvPr>
          <p:cNvSpPr/>
          <p:nvPr/>
        </p:nvSpPr>
        <p:spPr>
          <a:xfrm>
            <a:off x="348760" y="5632657"/>
            <a:ext cx="1428675" cy="265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Voice Data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0660902-17C6-4817-9E0E-43435643D554}"/>
              </a:ext>
            </a:extLst>
          </p:cNvPr>
          <p:cNvGrpSpPr/>
          <p:nvPr/>
        </p:nvGrpSpPr>
        <p:grpSpPr>
          <a:xfrm>
            <a:off x="3416397" y="3748031"/>
            <a:ext cx="1427953" cy="1128306"/>
            <a:chOff x="5087888" y="836713"/>
            <a:chExt cx="2016224" cy="1128306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816E0FF-2074-4A6C-82C6-A0C680146770}"/>
                </a:ext>
              </a:extLst>
            </p:cNvPr>
            <p:cNvSpPr/>
            <p:nvPr/>
          </p:nvSpPr>
          <p:spPr>
            <a:xfrm>
              <a:off x="5087888" y="836713"/>
              <a:ext cx="2016224" cy="112830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000" b="1" dirty="0">
                <a:solidFill>
                  <a:schemeClr val="tx1"/>
                </a:solidFill>
              </a:endParaRPr>
            </a:p>
            <a:p>
              <a:pPr algn="ctr"/>
              <a:endParaRPr lang="en-CA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D0C739DF-74C8-46B0-8A77-B5A535D7E104}"/>
                </a:ext>
              </a:extLst>
            </p:cNvPr>
            <p:cNvSpPr/>
            <p:nvPr/>
          </p:nvSpPr>
          <p:spPr>
            <a:xfrm>
              <a:off x="5141894" y="959430"/>
              <a:ext cx="1908212" cy="44624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bg2"/>
                  </a:solidFill>
                </a:rPr>
                <a:t>Natural Language Processing (NLP) - Spoken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7D308F02-6178-4D62-84A6-D79FDB27DD63}"/>
                </a:ext>
              </a:extLst>
            </p:cNvPr>
            <p:cNvSpPr/>
            <p:nvPr/>
          </p:nvSpPr>
          <p:spPr>
            <a:xfrm>
              <a:off x="5141894" y="1479333"/>
              <a:ext cx="1908212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chemeClr val="tx1"/>
                  </a:solidFill>
                </a:rPr>
                <a:t>Audi Pre-processing</a:t>
              </a:r>
            </a:p>
          </p:txBody>
        </p:sp>
      </p:grp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9ECB98FB-3F5B-401E-BA60-B6A7FF41F84F}"/>
              </a:ext>
            </a:extLst>
          </p:cNvPr>
          <p:cNvCxnSpPr>
            <a:cxnSpLocks/>
            <a:stCxn id="101" idx="3"/>
            <a:endCxn id="149" idx="1"/>
          </p:cNvCxnSpPr>
          <p:nvPr/>
        </p:nvCxnSpPr>
        <p:spPr>
          <a:xfrm flipV="1">
            <a:off x="2852928" y="4312184"/>
            <a:ext cx="563469" cy="91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5DB73866-C40F-4A00-A509-FE1265178D5C}"/>
              </a:ext>
            </a:extLst>
          </p:cNvPr>
          <p:cNvCxnSpPr>
            <a:cxnSpLocks/>
            <a:stCxn id="149" idx="3"/>
            <a:endCxn id="109" idx="1"/>
          </p:cNvCxnSpPr>
          <p:nvPr/>
        </p:nvCxnSpPr>
        <p:spPr>
          <a:xfrm flipV="1">
            <a:off x="4844350" y="4309376"/>
            <a:ext cx="403071" cy="280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84DA5869-E160-459E-96F1-3087B0F1F09E}"/>
              </a:ext>
            </a:extLst>
          </p:cNvPr>
          <p:cNvCxnSpPr>
            <a:cxnSpLocks/>
            <a:stCxn id="149" idx="3"/>
            <a:endCxn id="110" idx="1"/>
          </p:cNvCxnSpPr>
          <p:nvPr/>
        </p:nvCxnSpPr>
        <p:spPr>
          <a:xfrm>
            <a:off x="4844350" y="4312184"/>
            <a:ext cx="403071" cy="508359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0E3C458F-55AD-4193-8E80-31D2C2B7A713}"/>
              </a:ext>
            </a:extLst>
          </p:cNvPr>
          <p:cNvCxnSpPr>
            <a:cxnSpLocks/>
            <a:stCxn id="110" idx="3"/>
            <a:endCxn id="130" idx="1"/>
          </p:cNvCxnSpPr>
          <p:nvPr/>
        </p:nvCxnSpPr>
        <p:spPr>
          <a:xfrm>
            <a:off x="6431691" y="4820543"/>
            <a:ext cx="593364" cy="694666"/>
          </a:xfrm>
          <a:prstGeom prst="bentConnector3">
            <a:avLst>
              <a:gd name="adj1" fmla="val 2269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7F138-7FF4-49E5-96D0-67B02B7FF4E9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</p:spTree>
    <p:extLst>
      <p:ext uri="{BB962C8B-B14F-4D97-AF65-F5344CB8AC3E}">
        <p14:creationId xmlns:p14="http://schemas.microsoft.com/office/powerpoint/2010/main" val="216766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74770E6-A56E-4A4D-A8A9-08E6F81DE49E}"/>
              </a:ext>
            </a:extLst>
          </p:cNvPr>
          <p:cNvSpPr txBox="1"/>
          <p:nvPr/>
        </p:nvSpPr>
        <p:spPr>
          <a:xfrm flipH="1">
            <a:off x="801079" y="825787"/>
            <a:ext cx="17361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alpha val="7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Your Great Subtitl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191E93-4FAF-A142-946D-68258B55021F}"/>
              </a:ext>
            </a:extLst>
          </p:cNvPr>
          <p:cNvSpPr/>
          <p:nvPr/>
        </p:nvSpPr>
        <p:spPr>
          <a:xfrm>
            <a:off x="801078" y="359766"/>
            <a:ext cx="465627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99000">
                      <a:schemeClr val="accent3">
                        <a:alpha val="69000"/>
                      </a:schemeClr>
                    </a:gs>
                  </a:gsLst>
                  <a:lin ang="0" scaled="1"/>
                </a:gradFill>
              </a:rPr>
              <a:t>SOLUTION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DEVELOPMENT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A53F5B5-F413-924C-8589-A8BA43BCC68D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1E13B59-975B-DB4A-84A0-FB43E0D4424A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EC7627-FEC9-4040-A288-F3C3F9D5F930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5E5166F9-0F99-134A-9F17-4ACD84433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397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6E09CA8-418E-8C42-BD25-8E6694903BEB}"/>
              </a:ext>
            </a:extLst>
          </p:cNvPr>
          <p:cNvGrpSpPr>
            <a:grpSpLocks noChangeAspect="1"/>
          </p:cNvGrpSpPr>
          <p:nvPr/>
        </p:nvGrpSpPr>
        <p:grpSpPr>
          <a:xfrm>
            <a:off x="952293" y="1120564"/>
            <a:ext cx="236140" cy="62506"/>
            <a:chOff x="3469621" y="1357388"/>
            <a:chExt cx="506185" cy="133990"/>
          </a:xfrm>
        </p:grpSpPr>
        <p:sp>
          <p:nvSpPr>
            <p:cNvPr id="107" name="Rounded Rectangle 106">
              <a:extLst>
                <a:ext uri="{FF2B5EF4-FFF2-40B4-BE49-F238E27FC236}">
                  <a16:creationId xmlns:a16="http://schemas.microsoft.com/office/drawing/2014/main" id="{27B9E375-ABFD-804C-AF29-643EFCD4101D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A702B0A-F812-3347-AB57-A1BEBC802D9A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ounded Rectangle 108">
              <a:extLst>
                <a:ext uri="{FF2B5EF4-FFF2-40B4-BE49-F238E27FC236}">
                  <a16:creationId xmlns:a16="http://schemas.microsoft.com/office/drawing/2014/main" id="{17D325E1-9ABC-0147-B295-92C6347E314B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03C43F7D-6A20-4D9E-B23E-8DB4711AC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0798567"/>
              </p:ext>
            </p:extLst>
          </p:nvPr>
        </p:nvGraphicFramePr>
        <p:xfrm>
          <a:off x="6462890" y="3535267"/>
          <a:ext cx="3960000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873B057-FE26-4A3E-8701-838FF898F7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0102453"/>
              </p:ext>
            </p:extLst>
          </p:nvPr>
        </p:nvGraphicFramePr>
        <p:xfrm>
          <a:off x="801079" y="1338674"/>
          <a:ext cx="3960000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A0FC3F1-AA70-4224-A104-84148AF4C4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301641"/>
              </p:ext>
            </p:extLst>
          </p:nvPr>
        </p:nvGraphicFramePr>
        <p:xfrm>
          <a:off x="801079" y="4419770"/>
          <a:ext cx="3960000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0DD127DD-58AE-45C1-8E19-809B2DEDBA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5936819"/>
              </p:ext>
            </p:extLst>
          </p:nvPr>
        </p:nvGraphicFramePr>
        <p:xfrm>
          <a:off x="6202543" y="1338674"/>
          <a:ext cx="3960000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BDE109C-1068-4B07-B9E8-48536F0AEA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8030699"/>
              </p:ext>
            </p:extLst>
          </p:nvPr>
        </p:nvGraphicFramePr>
        <p:xfrm>
          <a:off x="801078" y="2849317"/>
          <a:ext cx="3960000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49FFE227-CF37-46E6-A551-913DB6323563}"/>
              </a:ext>
            </a:extLst>
          </p:cNvPr>
          <p:cNvGrpSpPr/>
          <p:nvPr/>
        </p:nvGrpSpPr>
        <p:grpSpPr>
          <a:xfrm>
            <a:off x="4761080" y="1338674"/>
            <a:ext cx="1080001" cy="1434940"/>
            <a:chOff x="4401079" y="1338674"/>
            <a:chExt cx="1080001" cy="143494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8670744-67A0-49FC-B9BE-B21F84ACAF78}"/>
                </a:ext>
              </a:extLst>
            </p:cNvPr>
            <p:cNvSpPr/>
            <p:nvPr/>
          </p:nvSpPr>
          <p:spPr>
            <a:xfrm>
              <a:off x="4401080" y="1693614"/>
              <a:ext cx="1080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/>
                <a:t>0.78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3C08C77-5652-4213-933E-E53DF00CC697}"/>
                </a:ext>
              </a:extLst>
            </p:cNvPr>
            <p:cNvSpPr/>
            <p:nvPr/>
          </p:nvSpPr>
          <p:spPr>
            <a:xfrm>
              <a:off x="4401079" y="1338674"/>
              <a:ext cx="1080000" cy="3549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>
                  <a:solidFill>
                    <a:sysClr val="windowText" lastClr="000000"/>
                  </a:solidFill>
                </a:rPr>
                <a:t>Accuracy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351A230-5E73-4DF6-888C-3DC19FC6F6F4}"/>
              </a:ext>
            </a:extLst>
          </p:cNvPr>
          <p:cNvGrpSpPr/>
          <p:nvPr/>
        </p:nvGrpSpPr>
        <p:grpSpPr>
          <a:xfrm>
            <a:off x="10422894" y="3535267"/>
            <a:ext cx="1080001" cy="1434940"/>
            <a:chOff x="4401079" y="1338674"/>
            <a:chExt cx="1080001" cy="143494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025F7C3-C2BB-4271-8E2C-806388F888CE}"/>
                </a:ext>
              </a:extLst>
            </p:cNvPr>
            <p:cNvSpPr/>
            <p:nvPr/>
          </p:nvSpPr>
          <p:spPr>
            <a:xfrm>
              <a:off x="4401080" y="1693614"/>
              <a:ext cx="1080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/>
                <a:t>0.86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62C60D7-07AF-4FEF-8266-C472780E4C00}"/>
                </a:ext>
              </a:extLst>
            </p:cNvPr>
            <p:cNvSpPr/>
            <p:nvPr/>
          </p:nvSpPr>
          <p:spPr>
            <a:xfrm>
              <a:off x="4401079" y="1338674"/>
              <a:ext cx="1080000" cy="3549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>
                  <a:solidFill>
                    <a:sysClr val="windowText" lastClr="000000"/>
                  </a:solidFill>
                </a:rPr>
                <a:t>Accuracy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74F47FC-CB97-463B-A76D-0B48811EFD5A}"/>
              </a:ext>
            </a:extLst>
          </p:cNvPr>
          <p:cNvGrpSpPr/>
          <p:nvPr/>
        </p:nvGrpSpPr>
        <p:grpSpPr>
          <a:xfrm>
            <a:off x="4761080" y="4419770"/>
            <a:ext cx="1080001" cy="1434940"/>
            <a:chOff x="4401079" y="1338674"/>
            <a:chExt cx="1080001" cy="143494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4BFB05A-476C-41CA-9938-9841B8E951CD}"/>
                </a:ext>
              </a:extLst>
            </p:cNvPr>
            <p:cNvSpPr/>
            <p:nvPr/>
          </p:nvSpPr>
          <p:spPr>
            <a:xfrm>
              <a:off x="4401080" y="1693614"/>
              <a:ext cx="1080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/>
                <a:t>0.71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2B32A9C-3334-4A4E-921E-3259159166E7}"/>
                </a:ext>
              </a:extLst>
            </p:cNvPr>
            <p:cNvSpPr/>
            <p:nvPr/>
          </p:nvSpPr>
          <p:spPr>
            <a:xfrm>
              <a:off x="4401079" y="1338674"/>
              <a:ext cx="1080000" cy="3549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>
                  <a:solidFill>
                    <a:sysClr val="windowText" lastClr="000000"/>
                  </a:solidFill>
                </a:rPr>
                <a:t>Accuracy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AAAAEE9-1A3C-43DB-BF7A-E7D33B4F6714}"/>
              </a:ext>
            </a:extLst>
          </p:cNvPr>
          <p:cNvGrpSpPr/>
          <p:nvPr/>
        </p:nvGrpSpPr>
        <p:grpSpPr>
          <a:xfrm>
            <a:off x="10162547" y="1343734"/>
            <a:ext cx="1080001" cy="1434940"/>
            <a:chOff x="4401079" y="1338674"/>
            <a:chExt cx="1080001" cy="143494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AD8A2B3-F20D-4CB7-88C7-4AEE8428AD86}"/>
                </a:ext>
              </a:extLst>
            </p:cNvPr>
            <p:cNvSpPr/>
            <p:nvPr/>
          </p:nvSpPr>
          <p:spPr>
            <a:xfrm>
              <a:off x="4401080" y="1693614"/>
              <a:ext cx="1080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/>
                <a:t>0.69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5E1C848-B58C-452B-912D-1D6DF0D0253D}"/>
                </a:ext>
              </a:extLst>
            </p:cNvPr>
            <p:cNvSpPr/>
            <p:nvPr/>
          </p:nvSpPr>
          <p:spPr>
            <a:xfrm>
              <a:off x="4401079" y="1338674"/>
              <a:ext cx="1080000" cy="3549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>
                  <a:solidFill>
                    <a:sysClr val="windowText" lastClr="000000"/>
                  </a:solidFill>
                </a:rPr>
                <a:t>Accuracy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5404691-C6CF-4D3A-AB04-E218B7109845}"/>
              </a:ext>
            </a:extLst>
          </p:cNvPr>
          <p:cNvGrpSpPr/>
          <p:nvPr/>
        </p:nvGrpSpPr>
        <p:grpSpPr>
          <a:xfrm>
            <a:off x="4761080" y="2849317"/>
            <a:ext cx="1080001" cy="1434940"/>
            <a:chOff x="4401079" y="1338674"/>
            <a:chExt cx="1080001" cy="143494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5A13921-7C1F-4476-89FF-C21F2D21B58E}"/>
                </a:ext>
              </a:extLst>
            </p:cNvPr>
            <p:cNvSpPr/>
            <p:nvPr/>
          </p:nvSpPr>
          <p:spPr>
            <a:xfrm>
              <a:off x="4401080" y="1693614"/>
              <a:ext cx="1080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/>
                <a:t>0.70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DC87370-28A8-4C97-8F4A-F04FA1E63B9F}"/>
                </a:ext>
              </a:extLst>
            </p:cNvPr>
            <p:cNvSpPr/>
            <p:nvPr/>
          </p:nvSpPr>
          <p:spPr>
            <a:xfrm>
              <a:off x="4401079" y="1338674"/>
              <a:ext cx="1080000" cy="35494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dirty="0">
                  <a:solidFill>
                    <a:sysClr val="windowText" lastClr="000000"/>
                  </a:solidFill>
                </a:rPr>
                <a:t>Accuracy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D2F6C09-7332-41E1-9992-9D9A939E0D3C}"/>
              </a:ext>
            </a:extLst>
          </p:cNvPr>
          <p:cNvSpPr/>
          <p:nvPr/>
        </p:nvSpPr>
        <p:spPr>
          <a:xfrm>
            <a:off x="6339840" y="3429000"/>
            <a:ext cx="5283200" cy="1730326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668F3268-3EC7-4311-BBEB-CE949D8094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25913" y="43874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83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B948CFB3-5FA1-44CB-9768-F37DC5A36DDA}"/>
              </a:ext>
            </a:extLst>
          </p:cNvPr>
          <p:cNvSpPr/>
          <p:nvPr/>
        </p:nvSpPr>
        <p:spPr>
          <a:xfrm>
            <a:off x="9800297" y="2879301"/>
            <a:ext cx="2172637" cy="225199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DEFDBC5A-0821-4B10-9C2A-8B4BBA20C117}"/>
              </a:ext>
            </a:extLst>
          </p:cNvPr>
          <p:cNvSpPr/>
          <p:nvPr/>
        </p:nvSpPr>
        <p:spPr>
          <a:xfrm>
            <a:off x="6868743" y="3276439"/>
            <a:ext cx="2475896" cy="1463363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20F580DB-45F5-461E-834C-1BAF356EEA45}"/>
              </a:ext>
            </a:extLst>
          </p:cNvPr>
          <p:cNvSpPr/>
          <p:nvPr/>
        </p:nvSpPr>
        <p:spPr>
          <a:xfrm>
            <a:off x="2309764" y="1833880"/>
            <a:ext cx="1193800" cy="224301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4770E6-A56E-4A4D-A8A9-08E6F81DE49E}"/>
              </a:ext>
            </a:extLst>
          </p:cNvPr>
          <p:cNvSpPr txBox="1"/>
          <p:nvPr/>
        </p:nvSpPr>
        <p:spPr>
          <a:xfrm flipH="1">
            <a:off x="801079" y="825787"/>
            <a:ext cx="17361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alpha val="7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Your Great Subtitl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191E93-4FAF-A142-946D-68258B55021F}"/>
              </a:ext>
            </a:extLst>
          </p:cNvPr>
          <p:cNvSpPr/>
          <p:nvPr/>
        </p:nvSpPr>
        <p:spPr>
          <a:xfrm>
            <a:off x="801078" y="359766"/>
            <a:ext cx="44106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chemeClr val="accent1"/>
                    </a:gs>
                    <a:gs pos="99000">
                      <a:schemeClr val="accent3">
                        <a:alpha val="69000"/>
                      </a:schemeClr>
                    </a:gs>
                  </a:gsLst>
                  <a:lin ang="0" scaled="1"/>
                </a:gradFill>
              </a:rPr>
              <a:t>SOLUTION</a:t>
            </a:r>
            <a:r>
              <a:rPr lang="en-US" sz="3200" dirty="0"/>
              <a:t> </a:t>
            </a:r>
            <a:r>
              <a:rPr lang="en-US" sz="3200" dirty="0">
                <a:latin typeface="+mj-lt"/>
              </a:rPr>
              <a:t>DEPLOYMENT 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A53F5B5-F413-924C-8589-A8BA43BCC68D}"/>
              </a:ext>
            </a:extLst>
          </p:cNvPr>
          <p:cNvSpPr/>
          <p:nvPr/>
        </p:nvSpPr>
        <p:spPr>
          <a:xfrm>
            <a:off x="5125792" y="6547461"/>
            <a:ext cx="1604909" cy="22333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31E13B59-975B-DB4A-84A0-FB43E0D4424A}"/>
              </a:ext>
            </a:extLst>
          </p:cNvPr>
          <p:cNvSpPr/>
          <p:nvPr/>
        </p:nvSpPr>
        <p:spPr>
          <a:xfrm>
            <a:off x="6462890" y="6547461"/>
            <a:ext cx="569026" cy="22333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EC7627-FEC9-4040-A288-F3C3F9D5F930}"/>
              </a:ext>
            </a:extLst>
          </p:cNvPr>
          <p:cNvSpPr txBox="1"/>
          <p:nvPr/>
        </p:nvSpPr>
        <p:spPr>
          <a:xfrm>
            <a:off x="5394279" y="6536016"/>
            <a:ext cx="8659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entalyzer</a:t>
            </a:r>
            <a:r>
              <a:rPr lang="en-US" sz="900" dirty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360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5E5166F9-0F99-134A-9F17-4ACD84433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03972" y="6476563"/>
            <a:ext cx="486861" cy="365125"/>
          </a:xfrm>
        </p:spPr>
        <p:txBody>
          <a:bodyPr/>
          <a:lstStyle/>
          <a:p>
            <a:fld id="{3BA69586-E6B3-B646-96E5-E7A8350A3CCE}" type="slidenum">
              <a:rPr lang="en-US" smtClean="0">
                <a:solidFill>
                  <a:srgbClr val="FFFFFF"/>
                </a:solidFill>
              </a:rPr>
              <a:pPr/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6E09CA8-418E-8C42-BD25-8E6694903BEB}"/>
              </a:ext>
            </a:extLst>
          </p:cNvPr>
          <p:cNvGrpSpPr>
            <a:grpSpLocks noChangeAspect="1"/>
          </p:cNvGrpSpPr>
          <p:nvPr/>
        </p:nvGrpSpPr>
        <p:grpSpPr>
          <a:xfrm>
            <a:off x="952293" y="1120564"/>
            <a:ext cx="236140" cy="62506"/>
            <a:chOff x="3469621" y="1357388"/>
            <a:chExt cx="506185" cy="133990"/>
          </a:xfrm>
        </p:grpSpPr>
        <p:sp>
          <p:nvSpPr>
            <p:cNvPr id="107" name="Rounded Rectangle 106">
              <a:extLst>
                <a:ext uri="{FF2B5EF4-FFF2-40B4-BE49-F238E27FC236}">
                  <a16:creationId xmlns:a16="http://schemas.microsoft.com/office/drawing/2014/main" id="{27B9E375-ABFD-804C-AF29-643EFCD4101D}"/>
                </a:ext>
              </a:extLst>
            </p:cNvPr>
            <p:cNvSpPr/>
            <p:nvPr/>
          </p:nvSpPr>
          <p:spPr>
            <a:xfrm>
              <a:off x="3469621" y="1357388"/>
              <a:ext cx="133990" cy="13399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ounded Rectangle 107">
              <a:extLst>
                <a:ext uri="{FF2B5EF4-FFF2-40B4-BE49-F238E27FC236}">
                  <a16:creationId xmlns:a16="http://schemas.microsoft.com/office/drawing/2014/main" id="{9A702B0A-F812-3347-AB57-A1BEBC802D9A}"/>
                </a:ext>
              </a:extLst>
            </p:cNvPr>
            <p:cNvSpPr/>
            <p:nvPr/>
          </p:nvSpPr>
          <p:spPr>
            <a:xfrm>
              <a:off x="3655719" y="1357388"/>
              <a:ext cx="133990" cy="13399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ounded Rectangle 108">
              <a:extLst>
                <a:ext uri="{FF2B5EF4-FFF2-40B4-BE49-F238E27FC236}">
                  <a16:creationId xmlns:a16="http://schemas.microsoft.com/office/drawing/2014/main" id="{17D325E1-9ABC-0147-B295-92C6347E314B}"/>
                </a:ext>
              </a:extLst>
            </p:cNvPr>
            <p:cNvSpPr/>
            <p:nvPr/>
          </p:nvSpPr>
          <p:spPr>
            <a:xfrm>
              <a:off x="3841816" y="1357388"/>
              <a:ext cx="133990" cy="13399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E0C1A6ED-4231-407D-A457-59F60ACC99D7}"/>
              </a:ext>
            </a:extLst>
          </p:cNvPr>
          <p:cNvSpPr/>
          <p:nvPr/>
        </p:nvSpPr>
        <p:spPr>
          <a:xfrm>
            <a:off x="812743" y="1431182"/>
            <a:ext cx="1430838" cy="4247686"/>
          </a:xfrm>
          <a:prstGeom prst="rect">
            <a:avLst/>
          </a:prstGeom>
          <a:solidFill>
            <a:srgbClr val="DFD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CA" sz="1000" kern="0" dirty="0">
              <a:solidFill>
                <a:srgbClr val="626066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843515-D48F-44D7-8040-47CC72A1A538}"/>
              </a:ext>
            </a:extLst>
          </p:cNvPr>
          <p:cNvSpPr/>
          <p:nvPr/>
        </p:nvSpPr>
        <p:spPr>
          <a:xfrm>
            <a:off x="816024" y="1431182"/>
            <a:ext cx="1427557" cy="2659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/>
              <a:t>Data Sourc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B004CF-5A59-4B0E-AE08-D7DCFF87D553}"/>
              </a:ext>
            </a:extLst>
          </p:cNvPr>
          <p:cNvGrpSpPr/>
          <p:nvPr/>
        </p:nvGrpSpPr>
        <p:grpSpPr>
          <a:xfrm>
            <a:off x="816024" y="2045650"/>
            <a:ext cx="1428675" cy="891487"/>
            <a:chOff x="348664" y="1862770"/>
            <a:chExt cx="1428675" cy="891487"/>
          </a:xfrm>
        </p:grpSpPr>
        <p:grpSp>
          <p:nvGrpSpPr>
            <p:cNvPr id="20" name="Documen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CCFC905-1AF0-4F28-A110-D598C8051E90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72602" y="1862770"/>
              <a:ext cx="376401" cy="542925"/>
              <a:chOff x="-1111250" y="4454525"/>
              <a:chExt cx="606425" cy="874713"/>
            </a:xfrm>
            <a:solidFill>
              <a:schemeClr val="tx1"/>
            </a:solidFill>
          </p:grpSpPr>
          <p:sp>
            <p:nvSpPr>
              <p:cNvPr id="21" name="Freeform 241">
                <a:extLst>
                  <a:ext uri="{FF2B5EF4-FFF2-40B4-BE49-F238E27FC236}">
                    <a16:creationId xmlns:a16="http://schemas.microsoft.com/office/drawing/2014/main" id="{61D80E11-F2E3-4A02-BE9A-D0CB1AF299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111250" y="4454525"/>
                <a:ext cx="606425" cy="874713"/>
              </a:xfrm>
              <a:custGeom>
                <a:avLst/>
                <a:gdLst>
                  <a:gd name="T0" fmla="*/ 758 w 797"/>
                  <a:gd name="T1" fmla="*/ 1082 h 1147"/>
                  <a:gd name="T2" fmla="*/ 733 w 797"/>
                  <a:gd name="T3" fmla="*/ 1107 h 1147"/>
                  <a:gd name="T4" fmla="*/ 65 w 797"/>
                  <a:gd name="T5" fmla="*/ 1107 h 1147"/>
                  <a:gd name="T6" fmla="*/ 40 w 797"/>
                  <a:gd name="T7" fmla="*/ 1082 h 1147"/>
                  <a:gd name="T8" fmla="*/ 40 w 797"/>
                  <a:gd name="T9" fmla="*/ 248 h 1147"/>
                  <a:gd name="T10" fmla="*/ 184 w 797"/>
                  <a:gd name="T11" fmla="*/ 248 h 1147"/>
                  <a:gd name="T12" fmla="*/ 248 w 797"/>
                  <a:gd name="T13" fmla="*/ 184 h 1147"/>
                  <a:gd name="T14" fmla="*/ 248 w 797"/>
                  <a:gd name="T15" fmla="*/ 40 h 1147"/>
                  <a:gd name="T16" fmla="*/ 733 w 797"/>
                  <a:gd name="T17" fmla="*/ 40 h 1147"/>
                  <a:gd name="T18" fmla="*/ 758 w 797"/>
                  <a:gd name="T19" fmla="*/ 65 h 1147"/>
                  <a:gd name="T20" fmla="*/ 758 w 797"/>
                  <a:gd name="T21" fmla="*/ 1082 h 1147"/>
                  <a:gd name="T22" fmla="*/ 209 w 797"/>
                  <a:gd name="T23" fmla="*/ 68 h 1147"/>
                  <a:gd name="T24" fmla="*/ 209 w 797"/>
                  <a:gd name="T25" fmla="*/ 184 h 1147"/>
                  <a:gd name="T26" fmla="*/ 184 w 797"/>
                  <a:gd name="T27" fmla="*/ 209 h 1147"/>
                  <a:gd name="T28" fmla="*/ 68 w 797"/>
                  <a:gd name="T29" fmla="*/ 209 h 1147"/>
                  <a:gd name="T30" fmla="*/ 209 w 797"/>
                  <a:gd name="T31" fmla="*/ 68 h 1147"/>
                  <a:gd name="T32" fmla="*/ 733 w 797"/>
                  <a:gd name="T33" fmla="*/ 0 h 1147"/>
                  <a:gd name="T34" fmla="*/ 229 w 797"/>
                  <a:gd name="T35" fmla="*/ 0 h 1147"/>
                  <a:gd name="T36" fmla="*/ 215 w 797"/>
                  <a:gd name="T37" fmla="*/ 6 h 1147"/>
                  <a:gd name="T38" fmla="*/ 6 w 797"/>
                  <a:gd name="T39" fmla="*/ 215 h 1147"/>
                  <a:gd name="T40" fmla="*/ 0 w 797"/>
                  <a:gd name="T41" fmla="*/ 229 h 1147"/>
                  <a:gd name="T42" fmla="*/ 0 w 797"/>
                  <a:gd name="T43" fmla="*/ 1082 h 1147"/>
                  <a:gd name="T44" fmla="*/ 65 w 797"/>
                  <a:gd name="T45" fmla="*/ 1147 h 1147"/>
                  <a:gd name="T46" fmla="*/ 733 w 797"/>
                  <a:gd name="T47" fmla="*/ 1147 h 1147"/>
                  <a:gd name="T48" fmla="*/ 797 w 797"/>
                  <a:gd name="T49" fmla="*/ 1082 h 1147"/>
                  <a:gd name="T50" fmla="*/ 797 w 797"/>
                  <a:gd name="T51" fmla="*/ 65 h 1147"/>
                  <a:gd name="T52" fmla="*/ 733 w 797"/>
                  <a:gd name="T53" fmla="*/ 0 h 1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7" h="1147">
                    <a:moveTo>
                      <a:pt x="758" y="1082"/>
                    </a:moveTo>
                    <a:cubicBezTo>
                      <a:pt x="758" y="1096"/>
                      <a:pt x="747" y="1107"/>
                      <a:pt x="733" y="1107"/>
                    </a:cubicBezTo>
                    <a:lnTo>
                      <a:pt x="65" y="1107"/>
                    </a:lnTo>
                    <a:cubicBezTo>
                      <a:pt x="51" y="1107"/>
                      <a:pt x="40" y="1096"/>
                      <a:pt x="40" y="1082"/>
                    </a:cubicBezTo>
                    <a:lnTo>
                      <a:pt x="40" y="248"/>
                    </a:lnTo>
                    <a:lnTo>
                      <a:pt x="184" y="248"/>
                    </a:lnTo>
                    <a:cubicBezTo>
                      <a:pt x="219" y="248"/>
                      <a:pt x="248" y="219"/>
                      <a:pt x="248" y="184"/>
                    </a:cubicBezTo>
                    <a:lnTo>
                      <a:pt x="248" y="40"/>
                    </a:lnTo>
                    <a:lnTo>
                      <a:pt x="733" y="40"/>
                    </a:lnTo>
                    <a:cubicBezTo>
                      <a:pt x="747" y="40"/>
                      <a:pt x="758" y="51"/>
                      <a:pt x="758" y="65"/>
                    </a:cubicBezTo>
                    <a:lnTo>
                      <a:pt x="758" y="1082"/>
                    </a:lnTo>
                    <a:close/>
                    <a:moveTo>
                      <a:pt x="209" y="68"/>
                    </a:moveTo>
                    <a:lnTo>
                      <a:pt x="209" y="184"/>
                    </a:lnTo>
                    <a:cubicBezTo>
                      <a:pt x="209" y="197"/>
                      <a:pt x="198" y="209"/>
                      <a:pt x="184" y="209"/>
                    </a:cubicBezTo>
                    <a:lnTo>
                      <a:pt x="68" y="209"/>
                    </a:lnTo>
                    <a:lnTo>
                      <a:pt x="209" y="68"/>
                    </a:lnTo>
                    <a:close/>
                    <a:moveTo>
                      <a:pt x="733" y="0"/>
                    </a:moveTo>
                    <a:lnTo>
                      <a:pt x="229" y="0"/>
                    </a:lnTo>
                    <a:cubicBezTo>
                      <a:pt x="223" y="0"/>
                      <a:pt x="218" y="2"/>
                      <a:pt x="215" y="6"/>
                    </a:cubicBezTo>
                    <a:lnTo>
                      <a:pt x="6" y="215"/>
                    </a:lnTo>
                    <a:cubicBezTo>
                      <a:pt x="3" y="218"/>
                      <a:pt x="0" y="223"/>
                      <a:pt x="0" y="229"/>
                    </a:cubicBezTo>
                    <a:lnTo>
                      <a:pt x="0" y="1082"/>
                    </a:lnTo>
                    <a:cubicBezTo>
                      <a:pt x="0" y="1118"/>
                      <a:pt x="30" y="1147"/>
                      <a:pt x="65" y="1147"/>
                    </a:cubicBezTo>
                    <a:lnTo>
                      <a:pt x="733" y="1147"/>
                    </a:lnTo>
                    <a:cubicBezTo>
                      <a:pt x="768" y="1147"/>
                      <a:pt x="797" y="1118"/>
                      <a:pt x="797" y="1082"/>
                    </a:cubicBezTo>
                    <a:lnTo>
                      <a:pt x="797" y="65"/>
                    </a:lnTo>
                    <a:cubicBezTo>
                      <a:pt x="797" y="29"/>
                      <a:pt x="768" y="0"/>
                      <a:pt x="733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Rectangle 242">
                <a:extLst>
                  <a:ext uri="{FF2B5EF4-FFF2-40B4-BE49-F238E27FC236}">
                    <a16:creationId xmlns:a16="http://schemas.microsoft.com/office/drawing/2014/main" id="{C3DDA8FB-79A0-43C5-9B6C-E89C9FB113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080000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Rectangle 243">
                <a:extLst>
                  <a:ext uri="{FF2B5EF4-FFF2-40B4-BE49-F238E27FC236}">
                    <a16:creationId xmlns:a16="http://schemas.microsoft.com/office/drawing/2014/main" id="{56469F33-AF1D-4777-A507-33DDB84A66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127625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Rectangle 244">
                <a:extLst>
                  <a:ext uri="{FF2B5EF4-FFF2-40B4-BE49-F238E27FC236}">
                    <a16:creationId xmlns:a16="http://schemas.microsoft.com/office/drawing/2014/main" id="{4E359CD1-C7F3-476A-B43E-7DE8C6B39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176838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Rectangle 245">
                <a:extLst>
                  <a:ext uri="{FF2B5EF4-FFF2-40B4-BE49-F238E27FC236}">
                    <a16:creationId xmlns:a16="http://schemas.microsoft.com/office/drawing/2014/main" id="{2383902C-8F90-4A9E-AB47-D91EED2E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983163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Rectangle 246">
                <a:extLst>
                  <a:ext uri="{FF2B5EF4-FFF2-40B4-BE49-F238E27FC236}">
                    <a16:creationId xmlns:a16="http://schemas.microsoft.com/office/drawing/2014/main" id="{3E4DA3CA-5AF0-4D3E-9DA6-010BB2D6B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030788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tangle 247">
                <a:extLst>
                  <a:ext uri="{FF2B5EF4-FFF2-40B4-BE49-F238E27FC236}">
                    <a16:creationId xmlns:a16="http://schemas.microsoft.com/office/drawing/2014/main" id="{0A1288EF-587D-4998-BF9A-702C40F8F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080000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Rectangle 248">
                <a:extLst>
                  <a:ext uri="{FF2B5EF4-FFF2-40B4-BE49-F238E27FC236}">
                    <a16:creationId xmlns:a16="http://schemas.microsoft.com/office/drawing/2014/main" id="{0CC428E2-AC24-4F3F-A08F-116B00B6AB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933950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Rectangle 249">
                <a:extLst>
                  <a:ext uri="{FF2B5EF4-FFF2-40B4-BE49-F238E27FC236}">
                    <a16:creationId xmlns:a16="http://schemas.microsoft.com/office/drawing/2014/main" id="{8E830A1E-5A6F-471E-AD01-6A00F20C0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983163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tangle 250">
                <a:extLst>
                  <a:ext uri="{FF2B5EF4-FFF2-40B4-BE49-F238E27FC236}">
                    <a16:creationId xmlns:a16="http://schemas.microsoft.com/office/drawing/2014/main" id="{CF8545E7-2B41-40B6-B6A0-EFA973A886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5030788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Rectangle 251">
                <a:extLst>
                  <a:ext uri="{FF2B5EF4-FFF2-40B4-BE49-F238E27FC236}">
                    <a16:creationId xmlns:a16="http://schemas.microsoft.com/office/drawing/2014/main" id="{D4E8BA47-86AB-4335-9D8C-BB0F858D20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837113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Rectangle 252">
                <a:extLst>
                  <a:ext uri="{FF2B5EF4-FFF2-40B4-BE49-F238E27FC236}">
                    <a16:creationId xmlns:a16="http://schemas.microsoft.com/office/drawing/2014/main" id="{1E2BA427-44C1-44A8-BCBC-C0DF3EA1D7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886325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Rectangle 253">
                <a:extLst>
                  <a:ext uri="{FF2B5EF4-FFF2-40B4-BE49-F238E27FC236}">
                    <a16:creationId xmlns:a16="http://schemas.microsoft.com/office/drawing/2014/main" id="{49CEE2D8-4F1E-4D39-94CD-EF084C534F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933950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Rectangle 254">
                <a:extLst>
                  <a:ext uri="{FF2B5EF4-FFF2-40B4-BE49-F238E27FC236}">
                    <a16:creationId xmlns:a16="http://schemas.microsoft.com/office/drawing/2014/main" id="{F3319802-D138-4C03-8E96-C3A2885B1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789488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Rectangle 255">
                <a:extLst>
                  <a:ext uri="{FF2B5EF4-FFF2-40B4-BE49-F238E27FC236}">
                    <a16:creationId xmlns:a16="http://schemas.microsoft.com/office/drawing/2014/main" id="{265D408C-B216-4820-ABB2-C48C595319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837113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Rectangle 256">
                <a:extLst>
                  <a:ext uri="{FF2B5EF4-FFF2-40B4-BE49-F238E27FC236}">
                    <a16:creationId xmlns:a16="http://schemas.microsoft.com/office/drawing/2014/main" id="{CC6A1CA2-6BD1-4029-86A4-41B30D9C2E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789488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Rectangle 257">
                <a:extLst>
                  <a:ext uri="{FF2B5EF4-FFF2-40B4-BE49-F238E27FC236}">
                    <a16:creationId xmlns:a16="http://schemas.microsoft.com/office/drawing/2014/main" id="{AF82D484-A722-4E19-9384-EB32C57E3D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740275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Rectangle 258">
                <a:extLst>
                  <a:ext uri="{FF2B5EF4-FFF2-40B4-BE49-F238E27FC236}">
                    <a16:creationId xmlns:a16="http://schemas.microsoft.com/office/drawing/2014/main" id="{621686C7-35A7-4DBD-A29F-A1467B9BD7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919162" y="4886325"/>
                <a:ext cx="311150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Rectangle 259">
                <a:extLst>
                  <a:ext uri="{FF2B5EF4-FFF2-40B4-BE49-F238E27FC236}">
                    <a16:creationId xmlns:a16="http://schemas.microsoft.com/office/drawing/2014/main" id="{43B4CE4F-74D1-422A-81A6-54615F501F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60425" y="4600575"/>
                <a:ext cx="252413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E460CF7-F44E-41DD-8F57-E734CB8DDE53}"/>
                </a:ext>
              </a:extLst>
            </p:cNvPr>
            <p:cNvSpPr/>
            <p:nvPr/>
          </p:nvSpPr>
          <p:spPr>
            <a:xfrm>
              <a:off x="348664" y="2488351"/>
              <a:ext cx="1428675" cy="2659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ysClr val="windowText" lastClr="000000"/>
                  </a:solidFill>
                </a:rPr>
                <a:t>Online Review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0C4CA2D-062D-41AF-9E6C-DA48DC61BE59}"/>
              </a:ext>
            </a:extLst>
          </p:cNvPr>
          <p:cNvGrpSpPr/>
          <p:nvPr/>
        </p:nvGrpSpPr>
        <p:grpSpPr>
          <a:xfrm>
            <a:off x="809259" y="4587187"/>
            <a:ext cx="1428675" cy="755606"/>
            <a:chOff x="340686" y="3581113"/>
            <a:chExt cx="1428675" cy="755606"/>
          </a:xfrm>
        </p:grpSpPr>
        <p:sp>
          <p:nvSpPr>
            <p:cNvPr id="19" name="Twitter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47A9403F-C806-4514-9EDC-D0AF0B41F62B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845340" y="3581113"/>
              <a:ext cx="430925" cy="360000"/>
            </a:xfrm>
            <a:custGeom>
              <a:avLst/>
              <a:gdLst>
                <a:gd name="T0" fmla="*/ 540 w 554"/>
                <a:gd name="T1" fmla="*/ 53 h 461"/>
                <a:gd name="T2" fmla="*/ 528 w 554"/>
                <a:gd name="T3" fmla="*/ 15 h 461"/>
                <a:gd name="T4" fmla="*/ 506 w 554"/>
                <a:gd name="T5" fmla="*/ 7 h 461"/>
                <a:gd name="T6" fmla="*/ 487 w 554"/>
                <a:gd name="T7" fmla="*/ 12 h 461"/>
                <a:gd name="T8" fmla="*/ 453 w 554"/>
                <a:gd name="T9" fmla="*/ 28 h 461"/>
                <a:gd name="T10" fmla="*/ 371 w 554"/>
                <a:gd name="T11" fmla="*/ 0 h 461"/>
                <a:gd name="T12" fmla="*/ 239 w 554"/>
                <a:gd name="T13" fmla="*/ 116 h 461"/>
                <a:gd name="T14" fmla="*/ 100 w 554"/>
                <a:gd name="T15" fmla="*/ 31 h 461"/>
                <a:gd name="T16" fmla="*/ 73 w 554"/>
                <a:gd name="T17" fmla="*/ 18 h 461"/>
                <a:gd name="T18" fmla="*/ 70 w 554"/>
                <a:gd name="T19" fmla="*/ 18 h 461"/>
                <a:gd name="T20" fmla="*/ 42 w 554"/>
                <a:gd name="T21" fmla="*/ 36 h 461"/>
                <a:gd name="T22" fmla="*/ 24 w 554"/>
                <a:gd name="T23" fmla="*/ 103 h 461"/>
                <a:gd name="T24" fmla="*/ 32 w 554"/>
                <a:gd name="T25" fmla="*/ 149 h 461"/>
                <a:gd name="T26" fmla="*/ 23 w 554"/>
                <a:gd name="T27" fmla="*/ 173 h 461"/>
                <a:gd name="T28" fmla="*/ 58 w 554"/>
                <a:gd name="T29" fmla="*/ 264 h 461"/>
                <a:gd name="T30" fmla="*/ 59 w 554"/>
                <a:gd name="T31" fmla="*/ 283 h 461"/>
                <a:gd name="T32" fmla="*/ 99 w 554"/>
                <a:gd name="T33" fmla="*/ 343 h 461"/>
                <a:gd name="T34" fmla="*/ 63 w 554"/>
                <a:gd name="T35" fmla="*/ 347 h 461"/>
                <a:gd name="T36" fmla="*/ 43 w 554"/>
                <a:gd name="T37" fmla="*/ 346 h 461"/>
                <a:gd name="T38" fmla="*/ 39 w 554"/>
                <a:gd name="T39" fmla="*/ 346 h 461"/>
                <a:gd name="T40" fmla="*/ 6 w 554"/>
                <a:gd name="T41" fmla="*/ 369 h 461"/>
                <a:gd name="T42" fmla="*/ 20 w 554"/>
                <a:gd name="T43" fmla="*/ 411 h 461"/>
                <a:gd name="T44" fmla="*/ 190 w 554"/>
                <a:gd name="T45" fmla="*/ 461 h 461"/>
                <a:gd name="T46" fmla="*/ 505 w 554"/>
                <a:gd name="T47" fmla="*/ 150 h 461"/>
                <a:gd name="T48" fmla="*/ 547 w 554"/>
                <a:gd name="T49" fmla="*/ 103 h 461"/>
                <a:gd name="T50" fmla="*/ 554 w 554"/>
                <a:gd name="T51" fmla="*/ 82 h 461"/>
                <a:gd name="T52" fmla="*/ 540 w 554"/>
                <a:gd name="T53" fmla="*/ 53 h 461"/>
                <a:gd name="T54" fmla="*/ 470 w 554"/>
                <a:gd name="T55" fmla="*/ 133 h 461"/>
                <a:gd name="T56" fmla="*/ 470 w 554"/>
                <a:gd name="T57" fmla="*/ 145 h 461"/>
                <a:gd name="T58" fmla="*/ 190 w 554"/>
                <a:gd name="T59" fmla="*/ 425 h 461"/>
                <a:gd name="T60" fmla="*/ 39 w 554"/>
                <a:gd name="T61" fmla="*/ 381 h 461"/>
                <a:gd name="T62" fmla="*/ 63 w 554"/>
                <a:gd name="T63" fmla="*/ 382 h 461"/>
                <a:gd name="T64" fmla="*/ 185 w 554"/>
                <a:gd name="T65" fmla="*/ 340 h 461"/>
                <a:gd name="T66" fmla="*/ 93 w 554"/>
                <a:gd name="T67" fmla="*/ 272 h 461"/>
                <a:gd name="T68" fmla="*/ 111 w 554"/>
                <a:gd name="T69" fmla="*/ 274 h 461"/>
                <a:gd name="T70" fmla="*/ 137 w 554"/>
                <a:gd name="T71" fmla="*/ 270 h 461"/>
                <a:gd name="T72" fmla="*/ 58 w 554"/>
                <a:gd name="T73" fmla="*/ 174 h 461"/>
                <a:gd name="T74" fmla="*/ 58 w 554"/>
                <a:gd name="T75" fmla="*/ 172 h 461"/>
                <a:gd name="T76" fmla="*/ 103 w 554"/>
                <a:gd name="T77" fmla="*/ 185 h 461"/>
                <a:gd name="T78" fmla="*/ 59 w 554"/>
                <a:gd name="T79" fmla="*/ 103 h 461"/>
                <a:gd name="T80" fmla="*/ 72 w 554"/>
                <a:gd name="T81" fmla="*/ 53 h 461"/>
                <a:gd name="T82" fmla="*/ 275 w 554"/>
                <a:gd name="T83" fmla="*/ 156 h 461"/>
                <a:gd name="T84" fmla="*/ 273 w 554"/>
                <a:gd name="T85" fmla="*/ 134 h 461"/>
                <a:gd name="T86" fmla="*/ 371 w 554"/>
                <a:gd name="T87" fmla="*/ 35 h 461"/>
                <a:gd name="T88" fmla="*/ 443 w 554"/>
                <a:gd name="T89" fmla="*/ 66 h 461"/>
                <a:gd name="T90" fmla="*/ 505 w 554"/>
                <a:gd name="T91" fmla="*/ 43 h 461"/>
                <a:gd name="T92" fmla="*/ 462 w 554"/>
                <a:gd name="T93" fmla="*/ 97 h 461"/>
                <a:gd name="T94" fmla="*/ 519 w 554"/>
                <a:gd name="T95" fmla="*/ 81 h 461"/>
                <a:gd name="T96" fmla="*/ 470 w 554"/>
                <a:gd name="T97" fmla="*/ 133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4" h="461">
                  <a:moveTo>
                    <a:pt x="540" y="53"/>
                  </a:moveTo>
                  <a:cubicBezTo>
                    <a:pt x="544" y="39"/>
                    <a:pt x="539" y="24"/>
                    <a:pt x="528" y="15"/>
                  </a:cubicBezTo>
                  <a:cubicBezTo>
                    <a:pt x="521" y="10"/>
                    <a:pt x="513" y="7"/>
                    <a:pt x="506" y="7"/>
                  </a:cubicBezTo>
                  <a:cubicBezTo>
                    <a:pt x="499" y="7"/>
                    <a:pt x="493" y="9"/>
                    <a:pt x="487" y="12"/>
                  </a:cubicBezTo>
                  <a:cubicBezTo>
                    <a:pt x="476" y="19"/>
                    <a:pt x="465" y="24"/>
                    <a:pt x="453" y="28"/>
                  </a:cubicBezTo>
                  <a:cubicBezTo>
                    <a:pt x="429" y="10"/>
                    <a:pt x="401" y="0"/>
                    <a:pt x="371" y="0"/>
                  </a:cubicBezTo>
                  <a:cubicBezTo>
                    <a:pt x="303" y="0"/>
                    <a:pt x="247" y="51"/>
                    <a:pt x="239" y="116"/>
                  </a:cubicBezTo>
                  <a:cubicBezTo>
                    <a:pt x="185" y="104"/>
                    <a:pt x="135" y="75"/>
                    <a:pt x="100" y="31"/>
                  </a:cubicBezTo>
                  <a:cubicBezTo>
                    <a:pt x="93" y="23"/>
                    <a:pt x="83" y="18"/>
                    <a:pt x="73" y="18"/>
                  </a:cubicBezTo>
                  <a:cubicBezTo>
                    <a:pt x="72" y="18"/>
                    <a:pt x="71" y="18"/>
                    <a:pt x="70" y="18"/>
                  </a:cubicBezTo>
                  <a:cubicBezTo>
                    <a:pt x="58" y="19"/>
                    <a:pt x="48" y="26"/>
                    <a:pt x="42" y="36"/>
                  </a:cubicBezTo>
                  <a:cubicBezTo>
                    <a:pt x="30" y="56"/>
                    <a:pt x="24" y="79"/>
                    <a:pt x="24" y="103"/>
                  </a:cubicBezTo>
                  <a:cubicBezTo>
                    <a:pt x="24" y="119"/>
                    <a:pt x="27" y="134"/>
                    <a:pt x="32" y="149"/>
                  </a:cubicBezTo>
                  <a:cubicBezTo>
                    <a:pt x="26" y="155"/>
                    <a:pt x="23" y="164"/>
                    <a:pt x="23" y="173"/>
                  </a:cubicBezTo>
                  <a:cubicBezTo>
                    <a:pt x="23" y="208"/>
                    <a:pt x="36" y="240"/>
                    <a:pt x="58" y="264"/>
                  </a:cubicBezTo>
                  <a:cubicBezTo>
                    <a:pt x="57" y="270"/>
                    <a:pt x="57" y="277"/>
                    <a:pt x="59" y="283"/>
                  </a:cubicBezTo>
                  <a:cubicBezTo>
                    <a:pt x="67" y="307"/>
                    <a:pt x="81" y="327"/>
                    <a:pt x="99" y="343"/>
                  </a:cubicBezTo>
                  <a:cubicBezTo>
                    <a:pt x="87" y="346"/>
                    <a:pt x="75" y="347"/>
                    <a:pt x="63" y="347"/>
                  </a:cubicBezTo>
                  <a:cubicBezTo>
                    <a:pt x="56" y="347"/>
                    <a:pt x="50" y="347"/>
                    <a:pt x="43" y="346"/>
                  </a:cubicBezTo>
                  <a:cubicBezTo>
                    <a:pt x="42" y="346"/>
                    <a:pt x="40" y="346"/>
                    <a:pt x="39" y="346"/>
                  </a:cubicBezTo>
                  <a:cubicBezTo>
                    <a:pt x="24" y="346"/>
                    <a:pt x="11" y="355"/>
                    <a:pt x="6" y="369"/>
                  </a:cubicBezTo>
                  <a:cubicBezTo>
                    <a:pt x="0" y="385"/>
                    <a:pt x="6" y="402"/>
                    <a:pt x="20" y="411"/>
                  </a:cubicBezTo>
                  <a:cubicBezTo>
                    <a:pt x="71" y="444"/>
                    <a:pt x="130" y="461"/>
                    <a:pt x="190" y="461"/>
                  </a:cubicBezTo>
                  <a:cubicBezTo>
                    <a:pt x="386" y="461"/>
                    <a:pt x="503" y="303"/>
                    <a:pt x="505" y="150"/>
                  </a:cubicBezTo>
                  <a:cubicBezTo>
                    <a:pt x="521" y="136"/>
                    <a:pt x="535" y="120"/>
                    <a:pt x="547" y="103"/>
                  </a:cubicBezTo>
                  <a:cubicBezTo>
                    <a:pt x="552" y="97"/>
                    <a:pt x="554" y="90"/>
                    <a:pt x="554" y="82"/>
                  </a:cubicBezTo>
                  <a:cubicBezTo>
                    <a:pt x="554" y="70"/>
                    <a:pt x="548" y="59"/>
                    <a:pt x="540" y="53"/>
                  </a:cubicBezTo>
                  <a:close/>
                  <a:moveTo>
                    <a:pt x="470" y="133"/>
                  </a:moveTo>
                  <a:cubicBezTo>
                    <a:pt x="470" y="137"/>
                    <a:pt x="470" y="141"/>
                    <a:pt x="470" y="145"/>
                  </a:cubicBezTo>
                  <a:cubicBezTo>
                    <a:pt x="470" y="275"/>
                    <a:pt x="371" y="425"/>
                    <a:pt x="190" y="425"/>
                  </a:cubicBezTo>
                  <a:cubicBezTo>
                    <a:pt x="134" y="425"/>
                    <a:pt x="83" y="409"/>
                    <a:pt x="39" y="381"/>
                  </a:cubicBezTo>
                  <a:cubicBezTo>
                    <a:pt x="47" y="382"/>
                    <a:pt x="55" y="382"/>
                    <a:pt x="63" y="382"/>
                  </a:cubicBezTo>
                  <a:cubicBezTo>
                    <a:pt x="109" y="382"/>
                    <a:pt x="151" y="367"/>
                    <a:pt x="185" y="340"/>
                  </a:cubicBezTo>
                  <a:cubicBezTo>
                    <a:pt x="142" y="339"/>
                    <a:pt x="105" y="311"/>
                    <a:pt x="93" y="272"/>
                  </a:cubicBezTo>
                  <a:cubicBezTo>
                    <a:pt x="99" y="273"/>
                    <a:pt x="105" y="274"/>
                    <a:pt x="111" y="274"/>
                  </a:cubicBezTo>
                  <a:cubicBezTo>
                    <a:pt x="120" y="274"/>
                    <a:pt x="129" y="272"/>
                    <a:pt x="137" y="270"/>
                  </a:cubicBezTo>
                  <a:cubicBezTo>
                    <a:pt x="92" y="261"/>
                    <a:pt x="58" y="221"/>
                    <a:pt x="58" y="174"/>
                  </a:cubicBezTo>
                  <a:lnTo>
                    <a:pt x="58" y="172"/>
                  </a:lnTo>
                  <a:cubicBezTo>
                    <a:pt x="72" y="180"/>
                    <a:pt x="87" y="184"/>
                    <a:pt x="103" y="185"/>
                  </a:cubicBezTo>
                  <a:cubicBezTo>
                    <a:pt x="76" y="167"/>
                    <a:pt x="59" y="137"/>
                    <a:pt x="59" y="103"/>
                  </a:cubicBezTo>
                  <a:cubicBezTo>
                    <a:pt x="59" y="85"/>
                    <a:pt x="64" y="68"/>
                    <a:pt x="72" y="53"/>
                  </a:cubicBezTo>
                  <a:cubicBezTo>
                    <a:pt x="121" y="113"/>
                    <a:pt x="193" y="152"/>
                    <a:pt x="275" y="156"/>
                  </a:cubicBezTo>
                  <a:cubicBezTo>
                    <a:pt x="274" y="149"/>
                    <a:pt x="273" y="141"/>
                    <a:pt x="273" y="134"/>
                  </a:cubicBezTo>
                  <a:cubicBezTo>
                    <a:pt x="273" y="79"/>
                    <a:pt x="317" y="35"/>
                    <a:pt x="371" y="35"/>
                  </a:cubicBezTo>
                  <a:cubicBezTo>
                    <a:pt x="399" y="35"/>
                    <a:pt x="425" y="47"/>
                    <a:pt x="443" y="66"/>
                  </a:cubicBezTo>
                  <a:cubicBezTo>
                    <a:pt x="465" y="62"/>
                    <a:pt x="486" y="54"/>
                    <a:pt x="505" y="43"/>
                  </a:cubicBezTo>
                  <a:cubicBezTo>
                    <a:pt x="498" y="66"/>
                    <a:pt x="483" y="85"/>
                    <a:pt x="462" y="97"/>
                  </a:cubicBezTo>
                  <a:cubicBezTo>
                    <a:pt x="482" y="95"/>
                    <a:pt x="501" y="89"/>
                    <a:pt x="519" y="81"/>
                  </a:cubicBezTo>
                  <a:cubicBezTo>
                    <a:pt x="506" y="101"/>
                    <a:pt x="489" y="119"/>
                    <a:pt x="470" y="13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60977CA-9F49-4E07-9D0E-7BFD2D4DCE19}"/>
                </a:ext>
              </a:extLst>
            </p:cNvPr>
            <p:cNvSpPr/>
            <p:nvPr/>
          </p:nvSpPr>
          <p:spPr>
            <a:xfrm>
              <a:off x="340686" y="4070813"/>
              <a:ext cx="1428675" cy="2659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ysClr val="windowText" lastClr="000000"/>
                  </a:solidFill>
                </a:rPr>
                <a:t>Twitter Data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562EA48-A1E2-4C8B-880A-6464FC2DB890}"/>
              </a:ext>
            </a:extLst>
          </p:cNvPr>
          <p:cNvGrpSpPr/>
          <p:nvPr/>
        </p:nvGrpSpPr>
        <p:grpSpPr>
          <a:xfrm>
            <a:off x="809260" y="3138949"/>
            <a:ext cx="1428675" cy="937943"/>
            <a:chOff x="341900" y="5116532"/>
            <a:chExt cx="1428675" cy="937943"/>
          </a:xfrm>
        </p:grpSpPr>
        <p:grpSp>
          <p:nvGrpSpPr>
            <p:cNvPr id="40" name="Call_center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DC1D6C4A-9A99-4CF6-8186-20737C65CE3F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04383" y="5116532"/>
              <a:ext cx="712839" cy="542925"/>
              <a:chOff x="0" y="0"/>
              <a:chExt cx="712839" cy="542925"/>
            </a:xfrm>
            <a:solidFill>
              <a:schemeClr val="tx1"/>
            </a:solidFill>
          </p:grpSpPr>
          <p:grpSp>
            <p:nvGrpSpPr>
              <p:cNvPr id="41" name="Customer_service">
                <a:extLst>
                  <a:ext uri="{FF2B5EF4-FFF2-40B4-BE49-F238E27FC236}">
                    <a16:creationId xmlns:a16="http://schemas.microsoft.com/office/drawing/2014/main" id="{AD958BEC-175D-4E17-946A-6DC1134EB2A2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>
              <a:xfrm>
                <a:off x="0" y="0"/>
                <a:ext cx="437297" cy="542925"/>
                <a:chOff x="4962526" y="5921375"/>
                <a:chExt cx="657225" cy="815976"/>
              </a:xfrm>
              <a:grpFill/>
            </p:grpSpPr>
            <p:sp>
              <p:nvSpPr>
                <p:cNvPr id="52" name="Freeform 47">
                  <a:extLst>
                    <a:ext uri="{FF2B5EF4-FFF2-40B4-BE49-F238E27FC236}">
                      <a16:creationId xmlns:a16="http://schemas.microsoft.com/office/drawing/2014/main" id="{1CB03DD7-EA5C-41FA-A3AE-C74D04B537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8888" y="6337300"/>
                  <a:ext cx="444500" cy="76200"/>
                </a:xfrm>
                <a:custGeom>
                  <a:avLst/>
                  <a:gdLst>
                    <a:gd name="T0" fmla="*/ 0 w 582"/>
                    <a:gd name="T1" fmla="*/ 99 h 99"/>
                    <a:gd name="T2" fmla="*/ 582 w 582"/>
                    <a:gd name="T3" fmla="*/ 99 h 99"/>
                    <a:gd name="T4" fmla="*/ 291 w 582"/>
                    <a:gd name="T5" fmla="*/ 0 h 99"/>
                    <a:gd name="T6" fmla="*/ 0 w 582"/>
                    <a:gd name="T7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82" h="99">
                      <a:moveTo>
                        <a:pt x="0" y="99"/>
                      </a:moveTo>
                      <a:lnTo>
                        <a:pt x="582" y="99"/>
                      </a:lnTo>
                      <a:cubicBezTo>
                        <a:pt x="516" y="35"/>
                        <a:pt x="411" y="0"/>
                        <a:pt x="291" y="0"/>
                      </a:cubicBezTo>
                      <a:cubicBezTo>
                        <a:pt x="172" y="0"/>
                        <a:pt x="66" y="35"/>
                        <a:pt x="0" y="9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" name="Freeform 48">
                  <a:extLst>
                    <a:ext uri="{FF2B5EF4-FFF2-40B4-BE49-F238E27FC236}">
                      <a16:creationId xmlns:a16="http://schemas.microsoft.com/office/drawing/2014/main" id="{E26E45F5-9ECD-46D0-B714-1F489A1DB1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2526" y="6461125"/>
                  <a:ext cx="657225" cy="276225"/>
                </a:xfrm>
                <a:custGeom>
                  <a:avLst/>
                  <a:gdLst>
                    <a:gd name="T0" fmla="*/ 808 w 864"/>
                    <a:gd name="T1" fmla="*/ 0 h 362"/>
                    <a:gd name="T2" fmla="*/ 56 w 864"/>
                    <a:gd name="T3" fmla="*/ 0 h 362"/>
                    <a:gd name="T4" fmla="*/ 0 w 864"/>
                    <a:gd name="T5" fmla="*/ 55 h 362"/>
                    <a:gd name="T6" fmla="*/ 0 w 864"/>
                    <a:gd name="T7" fmla="*/ 362 h 362"/>
                    <a:gd name="T8" fmla="*/ 52 w 864"/>
                    <a:gd name="T9" fmla="*/ 362 h 362"/>
                    <a:gd name="T10" fmla="*/ 52 w 864"/>
                    <a:gd name="T11" fmla="*/ 55 h 362"/>
                    <a:gd name="T12" fmla="*/ 56 w 864"/>
                    <a:gd name="T13" fmla="*/ 51 h 362"/>
                    <a:gd name="T14" fmla="*/ 808 w 864"/>
                    <a:gd name="T15" fmla="*/ 51 h 362"/>
                    <a:gd name="T16" fmla="*/ 812 w 864"/>
                    <a:gd name="T17" fmla="*/ 55 h 362"/>
                    <a:gd name="T18" fmla="*/ 812 w 864"/>
                    <a:gd name="T19" fmla="*/ 362 h 362"/>
                    <a:gd name="T20" fmla="*/ 864 w 864"/>
                    <a:gd name="T21" fmla="*/ 362 h 362"/>
                    <a:gd name="T22" fmla="*/ 864 w 864"/>
                    <a:gd name="T23" fmla="*/ 55 h 362"/>
                    <a:gd name="T24" fmla="*/ 808 w 864"/>
                    <a:gd name="T25" fmla="*/ 0 h 3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64" h="362">
                      <a:moveTo>
                        <a:pt x="808" y="0"/>
                      </a:moveTo>
                      <a:lnTo>
                        <a:pt x="56" y="0"/>
                      </a:lnTo>
                      <a:cubicBezTo>
                        <a:pt x="25" y="0"/>
                        <a:pt x="0" y="25"/>
                        <a:pt x="0" y="55"/>
                      </a:cubicBezTo>
                      <a:lnTo>
                        <a:pt x="0" y="362"/>
                      </a:lnTo>
                      <a:lnTo>
                        <a:pt x="52" y="362"/>
                      </a:lnTo>
                      <a:lnTo>
                        <a:pt x="52" y="55"/>
                      </a:lnTo>
                      <a:cubicBezTo>
                        <a:pt x="52" y="53"/>
                        <a:pt x="54" y="51"/>
                        <a:pt x="56" y="51"/>
                      </a:cubicBezTo>
                      <a:lnTo>
                        <a:pt x="808" y="51"/>
                      </a:lnTo>
                      <a:cubicBezTo>
                        <a:pt x="811" y="51"/>
                        <a:pt x="812" y="53"/>
                        <a:pt x="812" y="55"/>
                      </a:cubicBezTo>
                      <a:lnTo>
                        <a:pt x="812" y="362"/>
                      </a:lnTo>
                      <a:lnTo>
                        <a:pt x="864" y="362"/>
                      </a:lnTo>
                      <a:lnTo>
                        <a:pt x="864" y="55"/>
                      </a:lnTo>
                      <a:cubicBezTo>
                        <a:pt x="864" y="25"/>
                        <a:pt x="839" y="0"/>
                        <a:pt x="80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" name="Freeform 49">
                  <a:extLst>
                    <a:ext uri="{FF2B5EF4-FFF2-40B4-BE49-F238E27FC236}">
                      <a16:creationId xmlns:a16="http://schemas.microsoft.com/office/drawing/2014/main" id="{800587A6-21DE-4A00-AFB5-0100EFC157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2401" y="6678613"/>
                  <a:ext cx="117475" cy="58738"/>
                </a:xfrm>
                <a:custGeom>
                  <a:avLst/>
                  <a:gdLst>
                    <a:gd name="T0" fmla="*/ 77 w 154"/>
                    <a:gd name="T1" fmla="*/ 0 h 77"/>
                    <a:gd name="T2" fmla="*/ 0 w 154"/>
                    <a:gd name="T3" fmla="*/ 77 h 77"/>
                    <a:gd name="T4" fmla="*/ 154 w 154"/>
                    <a:gd name="T5" fmla="*/ 77 h 77"/>
                    <a:gd name="T6" fmla="*/ 77 w 154"/>
                    <a:gd name="T7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4" h="77">
                      <a:moveTo>
                        <a:pt x="77" y="0"/>
                      </a:moveTo>
                      <a:cubicBezTo>
                        <a:pt x="34" y="0"/>
                        <a:pt x="0" y="35"/>
                        <a:pt x="0" y="77"/>
                      </a:cubicBezTo>
                      <a:lnTo>
                        <a:pt x="154" y="77"/>
                      </a:lnTo>
                      <a:cubicBezTo>
                        <a:pt x="154" y="35"/>
                        <a:pt x="120" y="0"/>
                        <a:pt x="77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" name="Freeform 50">
                  <a:extLst>
                    <a:ext uri="{FF2B5EF4-FFF2-40B4-BE49-F238E27FC236}">
                      <a16:creationId xmlns:a16="http://schemas.microsoft.com/office/drawing/2014/main" id="{E23EEAF7-A629-4C2A-9B07-362BED65104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67301" y="5921375"/>
                  <a:ext cx="447675" cy="382588"/>
                </a:xfrm>
                <a:custGeom>
                  <a:avLst/>
                  <a:gdLst>
                    <a:gd name="T0" fmla="*/ 495 w 586"/>
                    <a:gd name="T1" fmla="*/ 229 h 502"/>
                    <a:gd name="T2" fmla="*/ 293 w 586"/>
                    <a:gd name="T3" fmla="*/ 80 h 502"/>
                    <a:gd name="T4" fmla="*/ 91 w 586"/>
                    <a:gd name="T5" fmla="*/ 229 h 502"/>
                    <a:gd name="T6" fmla="*/ 74 w 586"/>
                    <a:gd name="T7" fmla="*/ 199 h 502"/>
                    <a:gd name="T8" fmla="*/ 291 w 586"/>
                    <a:gd name="T9" fmla="*/ 42 h 502"/>
                    <a:gd name="T10" fmla="*/ 512 w 586"/>
                    <a:gd name="T11" fmla="*/ 199 h 502"/>
                    <a:gd name="T12" fmla="*/ 495 w 586"/>
                    <a:gd name="T13" fmla="*/ 229 h 502"/>
                    <a:gd name="T14" fmla="*/ 586 w 586"/>
                    <a:gd name="T15" fmla="*/ 235 h 502"/>
                    <a:gd name="T16" fmla="*/ 554 w 586"/>
                    <a:gd name="T17" fmla="*/ 192 h 502"/>
                    <a:gd name="T18" fmla="*/ 291 w 586"/>
                    <a:gd name="T19" fmla="*/ 0 h 502"/>
                    <a:gd name="T20" fmla="*/ 32 w 586"/>
                    <a:gd name="T21" fmla="*/ 192 h 502"/>
                    <a:gd name="T22" fmla="*/ 0 w 586"/>
                    <a:gd name="T23" fmla="*/ 235 h 502"/>
                    <a:gd name="T24" fmla="*/ 0 w 586"/>
                    <a:gd name="T25" fmla="*/ 335 h 502"/>
                    <a:gd name="T26" fmla="*/ 46 w 586"/>
                    <a:gd name="T27" fmla="*/ 381 h 502"/>
                    <a:gd name="T28" fmla="*/ 90 w 586"/>
                    <a:gd name="T29" fmla="*/ 347 h 502"/>
                    <a:gd name="T30" fmla="*/ 293 w 586"/>
                    <a:gd name="T31" fmla="*/ 502 h 502"/>
                    <a:gd name="T32" fmla="*/ 481 w 586"/>
                    <a:gd name="T33" fmla="*/ 387 h 502"/>
                    <a:gd name="T34" fmla="*/ 362 w 586"/>
                    <a:gd name="T35" fmla="*/ 424 h 502"/>
                    <a:gd name="T36" fmla="*/ 333 w 586"/>
                    <a:gd name="T37" fmla="*/ 437 h 502"/>
                    <a:gd name="T38" fmla="*/ 297 w 586"/>
                    <a:gd name="T39" fmla="*/ 407 h 502"/>
                    <a:gd name="T40" fmla="*/ 333 w 586"/>
                    <a:gd name="T41" fmla="*/ 376 h 502"/>
                    <a:gd name="T42" fmla="*/ 356 w 586"/>
                    <a:gd name="T43" fmla="*/ 383 h 502"/>
                    <a:gd name="T44" fmla="*/ 494 w 586"/>
                    <a:gd name="T45" fmla="*/ 330 h 502"/>
                    <a:gd name="T46" fmla="*/ 540 w 586"/>
                    <a:gd name="T47" fmla="*/ 381 h 502"/>
                    <a:gd name="T48" fmla="*/ 586 w 586"/>
                    <a:gd name="T49" fmla="*/ 335 h 502"/>
                    <a:gd name="T50" fmla="*/ 586 w 586"/>
                    <a:gd name="T51" fmla="*/ 2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86" h="502">
                      <a:moveTo>
                        <a:pt x="495" y="229"/>
                      </a:moveTo>
                      <a:cubicBezTo>
                        <a:pt x="468" y="143"/>
                        <a:pt x="388" y="80"/>
                        <a:pt x="293" y="80"/>
                      </a:cubicBezTo>
                      <a:cubicBezTo>
                        <a:pt x="198" y="80"/>
                        <a:pt x="118" y="143"/>
                        <a:pt x="91" y="229"/>
                      </a:cubicBezTo>
                      <a:cubicBezTo>
                        <a:pt x="89" y="217"/>
                        <a:pt x="83" y="206"/>
                        <a:pt x="74" y="199"/>
                      </a:cubicBezTo>
                      <a:cubicBezTo>
                        <a:pt x="106" y="106"/>
                        <a:pt x="190" y="42"/>
                        <a:pt x="291" y="42"/>
                      </a:cubicBezTo>
                      <a:cubicBezTo>
                        <a:pt x="394" y="42"/>
                        <a:pt x="479" y="106"/>
                        <a:pt x="512" y="199"/>
                      </a:cubicBezTo>
                      <a:cubicBezTo>
                        <a:pt x="503" y="206"/>
                        <a:pt x="496" y="217"/>
                        <a:pt x="495" y="229"/>
                      </a:cubicBezTo>
                      <a:close/>
                      <a:moveTo>
                        <a:pt x="586" y="235"/>
                      </a:moveTo>
                      <a:cubicBezTo>
                        <a:pt x="586" y="215"/>
                        <a:pt x="572" y="198"/>
                        <a:pt x="554" y="192"/>
                      </a:cubicBezTo>
                      <a:cubicBezTo>
                        <a:pt x="517" y="79"/>
                        <a:pt x="415" y="0"/>
                        <a:pt x="291" y="0"/>
                      </a:cubicBezTo>
                      <a:cubicBezTo>
                        <a:pt x="169" y="0"/>
                        <a:pt x="68" y="79"/>
                        <a:pt x="32" y="192"/>
                      </a:cubicBezTo>
                      <a:cubicBezTo>
                        <a:pt x="13" y="198"/>
                        <a:pt x="0" y="215"/>
                        <a:pt x="0" y="235"/>
                      </a:cubicBezTo>
                      <a:lnTo>
                        <a:pt x="0" y="335"/>
                      </a:lnTo>
                      <a:cubicBezTo>
                        <a:pt x="0" y="360"/>
                        <a:pt x="21" y="381"/>
                        <a:pt x="46" y="381"/>
                      </a:cubicBezTo>
                      <a:cubicBezTo>
                        <a:pt x="67" y="381"/>
                        <a:pt x="84" y="367"/>
                        <a:pt x="90" y="347"/>
                      </a:cubicBezTo>
                      <a:cubicBezTo>
                        <a:pt x="114" y="437"/>
                        <a:pt x="196" y="502"/>
                        <a:pt x="293" y="502"/>
                      </a:cubicBezTo>
                      <a:cubicBezTo>
                        <a:pt x="375" y="502"/>
                        <a:pt x="446" y="455"/>
                        <a:pt x="481" y="387"/>
                      </a:cubicBezTo>
                      <a:cubicBezTo>
                        <a:pt x="436" y="410"/>
                        <a:pt x="389" y="420"/>
                        <a:pt x="362" y="424"/>
                      </a:cubicBezTo>
                      <a:cubicBezTo>
                        <a:pt x="356" y="432"/>
                        <a:pt x="345" y="437"/>
                        <a:pt x="333" y="437"/>
                      </a:cubicBezTo>
                      <a:cubicBezTo>
                        <a:pt x="313" y="437"/>
                        <a:pt x="297" y="424"/>
                        <a:pt x="297" y="407"/>
                      </a:cubicBezTo>
                      <a:cubicBezTo>
                        <a:pt x="297" y="390"/>
                        <a:pt x="313" y="376"/>
                        <a:pt x="333" y="376"/>
                      </a:cubicBezTo>
                      <a:cubicBezTo>
                        <a:pt x="341" y="376"/>
                        <a:pt x="349" y="378"/>
                        <a:pt x="356" y="383"/>
                      </a:cubicBezTo>
                      <a:cubicBezTo>
                        <a:pt x="386" y="378"/>
                        <a:pt x="446" y="365"/>
                        <a:pt x="494" y="330"/>
                      </a:cubicBezTo>
                      <a:cubicBezTo>
                        <a:pt x="494" y="362"/>
                        <a:pt x="515" y="381"/>
                        <a:pt x="540" y="381"/>
                      </a:cubicBezTo>
                      <a:cubicBezTo>
                        <a:pt x="565" y="381"/>
                        <a:pt x="586" y="360"/>
                        <a:pt x="586" y="335"/>
                      </a:cubicBezTo>
                      <a:lnTo>
                        <a:pt x="586" y="23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2" name="Hotline">
                <a:extLst>
                  <a:ext uri="{FF2B5EF4-FFF2-40B4-BE49-F238E27FC236}">
                    <a16:creationId xmlns:a16="http://schemas.microsoft.com/office/drawing/2014/main" id="{841A1F4C-7174-432B-A4AF-CC050A817131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399531" y="56422"/>
                <a:ext cx="313308" cy="306467"/>
                <a:chOff x="5729289" y="344488"/>
                <a:chExt cx="727075" cy="711201"/>
              </a:xfrm>
              <a:grpFill/>
            </p:grpSpPr>
            <p:sp>
              <p:nvSpPr>
                <p:cNvPr id="43" name="Freeform 239">
                  <a:extLst>
                    <a:ext uri="{FF2B5EF4-FFF2-40B4-BE49-F238E27FC236}">
                      <a16:creationId xmlns:a16="http://schemas.microsoft.com/office/drawing/2014/main" id="{676194B1-5F46-4972-B222-8B814EC25B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9476" y="639763"/>
                  <a:ext cx="125413" cy="204788"/>
                </a:xfrm>
                <a:custGeom>
                  <a:avLst/>
                  <a:gdLst>
                    <a:gd name="T0" fmla="*/ 147 w 182"/>
                    <a:gd name="T1" fmla="*/ 169 h 296"/>
                    <a:gd name="T2" fmla="*/ 180 w 182"/>
                    <a:gd name="T3" fmla="*/ 86 h 296"/>
                    <a:gd name="T4" fmla="*/ 157 w 182"/>
                    <a:gd name="T5" fmla="*/ 24 h 296"/>
                    <a:gd name="T6" fmla="*/ 93 w 182"/>
                    <a:gd name="T7" fmla="*/ 0 h 296"/>
                    <a:gd name="T8" fmla="*/ 31 w 182"/>
                    <a:gd name="T9" fmla="*/ 23 h 296"/>
                    <a:gd name="T10" fmla="*/ 0 w 182"/>
                    <a:gd name="T11" fmla="*/ 90 h 296"/>
                    <a:gd name="T12" fmla="*/ 43 w 182"/>
                    <a:gd name="T13" fmla="*/ 99 h 296"/>
                    <a:gd name="T14" fmla="*/ 90 w 182"/>
                    <a:gd name="T15" fmla="*/ 40 h 296"/>
                    <a:gd name="T16" fmla="*/ 120 w 182"/>
                    <a:gd name="T17" fmla="*/ 54 h 296"/>
                    <a:gd name="T18" fmla="*/ 131 w 182"/>
                    <a:gd name="T19" fmla="*/ 89 h 296"/>
                    <a:gd name="T20" fmla="*/ 107 w 182"/>
                    <a:gd name="T21" fmla="*/ 149 h 296"/>
                    <a:gd name="T22" fmla="*/ 0 w 182"/>
                    <a:gd name="T23" fmla="*/ 255 h 296"/>
                    <a:gd name="T24" fmla="*/ 0 w 182"/>
                    <a:gd name="T25" fmla="*/ 296 h 296"/>
                    <a:gd name="T26" fmla="*/ 180 w 182"/>
                    <a:gd name="T27" fmla="*/ 296 h 296"/>
                    <a:gd name="T28" fmla="*/ 182 w 182"/>
                    <a:gd name="T29" fmla="*/ 254 h 296"/>
                    <a:gd name="T30" fmla="*/ 51 w 182"/>
                    <a:gd name="T31" fmla="*/ 254 h 296"/>
                    <a:gd name="T32" fmla="*/ 147 w 182"/>
                    <a:gd name="T33" fmla="*/ 169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2" h="296">
                      <a:moveTo>
                        <a:pt x="147" y="169"/>
                      </a:moveTo>
                      <a:cubicBezTo>
                        <a:pt x="169" y="142"/>
                        <a:pt x="180" y="115"/>
                        <a:pt x="180" y="86"/>
                      </a:cubicBezTo>
                      <a:cubicBezTo>
                        <a:pt x="180" y="61"/>
                        <a:pt x="173" y="40"/>
                        <a:pt x="157" y="24"/>
                      </a:cubicBezTo>
                      <a:cubicBezTo>
                        <a:pt x="142" y="8"/>
                        <a:pt x="120" y="0"/>
                        <a:pt x="93" y="0"/>
                      </a:cubicBezTo>
                      <a:cubicBezTo>
                        <a:pt x="68" y="0"/>
                        <a:pt x="47" y="8"/>
                        <a:pt x="31" y="23"/>
                      </a:cubicBezTo>
                      <a:cubicBezTo>
                        <a:pt x="15" y="38"/>
                        <a:pt x="5" y="60"/>
                        <a:pt x="0" y="90"/>
                      </a:cubicBezTo>
                      <a:lnTo>
                        <a:pt x="43" y="99"/>
                      </a:lnTo>
                      <a:cubicBezTo>
                        <a:pt x="48" y="60"/>
                        <a:pt x="64" y="40"/>
                        <a:pt x="90" y="40"/>
                      </a:cubicBezTo>
                      <a:cubicBezTo>
                        <a:pt x="103" y="40"/>
                        <a:pt x="112" y="45"/>
                        <a:pt x="120" y="54"/>
                      </a:cubicBezTo>
                      <a:cubicBezTo>
                        <a:pt x="127" y="63"/>
                        <a:pt x="131" y="75"/>
                        <a:pt x="131" y="89"/>
                      </a:cubicBezTo>
                      <a:cubicBezTo>
                        <a:pt x="131" y="107"/>
                        <a:pt x="123" y="126"/>
                        <a:pt x="107" y="149"/>
                      </a:cubicBezTo>
                      <a:cubicBezTo>
                        <a:pt x="92" y="171"/>
                        <a:pt x="56" y="206"/>
                        <a:pt x="0" y="255"/>
                      </a:cubicBezTo>
                      <a:lnTo>
                        <a:pt x="0" y="296"/>
                      </a:lnTo>
                      <a:lnTo>
                        <a:pt x="180" y="296"/>
                      </a:lnTo>
                      <a:lnTo>
                        <a:pt x="182" y="254"/>
                      </a:lnTo>
                      <a:lnTo>
                        <a:pt x="51" y="254"/>
                      </a:lnTo>
                      <a:cubicBezTo>
                        <a:pt x="93" y="223"/>
                        <a:pt x="125" y="195"/>
                        <a:pt x="147" y="16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" name="Freeform 240">
                  <a:extLst>
                    <a:ext uri="{FF2B5EF4-FFF2-40B4-BE49-F238E27FC236}">
                      <a16:creationId xmlns:a16="http://schemas.microsoft.com/office/drawing/2014/main" id="{D3B2C5C2-8397-4391-B2C0-FDA2F6ADC0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03939" y="639763"/>
                  <a:ext cx="134938" cy="204788"/>
                </a:xfrm>
                <a:custGeom>
                  <a:avLst/>
                  <a:gdLst>
                    <a:gd name="T0" fmla="*/ 115 w 196"/>
                    <a:gd name="T1" fmla="*/ 192 h 296"/>
                    <a:gd name="T2" fmla="*/ 38 w 196"/>
                    <a:gd name="T3" fmla="*/ 192 h 296"/>
                    <a:gd name="T4" fmla="*/ 115 w 196"/>
                    <a:gd name="T5" fmla="*/ 43 h 296"/>
                    <a:gd name="T6" fmla="*/ 115 w 196"/>
                    <a:gd name="T7" fmla="*/ 192 h 296"/>
                    <a:gd name="T8" fmla="*/ 196 w 196"/>
                    <a:gd name="T9" fmla="*/ 190 h 296"/>
                    <a:gd name="T10" fmla="*/ 160 w 196"/>
                    <a:gd name="T11" fmla="*/ 190 h 296"/>
                    <a:gd name="T12" fmla="*/ 160 w 196"/>
                    <a:gd name="T13" fmla="*/ 0 h 296"/>
                    <a:gd name="T14" fmla="*/ 105 w 196"/>
                    <a:gd name="T15" fmla="*/ 0 h 296"/>
                    <a:gd name="T16" fmla="*/ 0 w 196"/>
                    <a:gd name="T17" fmla="*/ 192 h 296"/>
                    <a:gd name="T18" fmla="*/ 0 w 196"/>
                    <a:gd name="T19" fmla="*/ 227 h 296"/>
                    <a:gd name="T20" fmla="*/ 113 w 196"/>
                    <a:gd name="T21" fmla="*/ 227 h 296"/>
                    <a:gd name="T22" fmla="*/ 113 w 196"/>
                    <a:gd name="T23" fmla="*/ 296 h 296"/>
                    <a:gd name="T24" fmla="*/ 160 w 196"/>
                    <a:gd name="T25" fmla="*/ 296 h 296"/>
                    <a:gd name="T26" fmla="*/ 160 w 196"/>
                    <a:gd name="T27" fmla="*/ 227 h 296"/>
                    <a:gd name="T28" fmla="*/ 196 w 196"/>
                    <a:gd name="T29" fmla="*/ 227 h 296"/>
                    <a:gd name="T30" fmla="*/ 196 w 196"/>
                    <a:gd name="T31" fmla="*/ 190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6" h="296">
                      <a:moveTo>
                        <a:pt x="115" y="192"/>
                      </a:moveTo>
                      <a:lnTo>
                        <a:pt x="38" y="192"/>
                      </a:lnTo>
                      <a:lnTo>
                        <a:pt x="115" y="43"/>
                      </a:lnTo>
                      <a:lnTo>
                        <a:pt x="115" y="192"/>
                      </a:lnTo>
                      <a:close/>
                      <a:moveTo>
                        <a:pt x="196" y="190"/>
                      </a:moveTo>
                      <a:lnTo>
                        <a:pt x="160" y="190"/>
                      </a:lnTo>
                      <a:lnTo>
                        <a:pt x="160" y="0"/>
                      </a:lnTo>
                      <a:lnTo>
                        <a:pt x="105" y="0"/>
                      </a:lnTo>
                      <a:lnTo>
                        <a:pt x="0" y="192"/>
                      </a:lnTo>
                      <a:lnTo>
                        <a:pt x="0" y="227"/>
                      </a:lnTo>
                      <a:lnTo>
                        <a:pt x="113" y="227"/>
                      </a:lnTo>
                      <a:lnTo>
                        <a:pt x="113" y="296"/>
                      </a:lnTo>
                      <a:lnTo>
                        <a:pt x="160" y="296"/>
                      </a:lnTo>
                      <a:lnTo>
                        <a:pt x="160" y="227"/>
                      </a:lnTo>
                      <a:lnTo>
                        <a:pt x="196" y="227"/>
                      </a:lnTo>
                      <a:lnTo>
                        <a:pt x="196" y="1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" name="Freeform 241">
                  <a:extLst>
                    <a:ext uri="{FF2B5EF4-FFF2-40B4-BE49-F238E27FC236}">
                      <a16:creationId xmlns:a16="http://schemas.microsoft.com/office/drawing/2014/main" id="{11044234-4723-4CC8-B16C-D350B36F9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9289" y="344488"/>
                  <a:ext cx="469900" cy="457200"/>
                </a:xfrm>
                <a:custGeom>
                  <a:avLst/>
                  <a:gdLst>
                    <a:gd name="T0" fmla="*/ 178 w 679"/>
                    <a:gd name="T1" fmla="*/ 628 h 659"/>
                    <a:gd name="T2" fmla="*/ 269 w 679"/>
                    <a:gd name="T3" fmla="*/ 449 h 659"/>
                    <a:gd name="T4" fmla="*/ 240 w 679"/>
                    <a:gd name="T5" fmla="*/ 413 h 659"/>
                    <a:gd name="T6" fmla="*/ 179 w 679"/>
                    <a:gd name="T7" fmla="*/ 404 h 659"/>
                    <a:gd name="T8" fmla="*/ 151 w 679"/>
                    <a:gd name="T9" fmla="*/ 380 h 659"/>
                    <a:gd name="T10" fmla="*/ 264 w 679"/>
                    <a:gd name="T11" fmla="*/ 249 h 659"/>
                    <a:gd name="T12" fmla="*/ 402 w 679"/>
                    <a:gd name="T13" fmla="*/ 143 h 659"/>
                    <a:gd name="T14" fmla="*/ 424 w 679"/>
                    <a:gd name="T15" fmla="*/ 171 h 659"/>
                    <a:gd name="T16" fmla="*/ 429 w 679"/>
                    <a:gd name="T17" fmla="*/ 233 h 659"/>
                    <a:gd name="T18" fmla="*/ 464 w 679"/>
                    <a:gd name="T19" fmla="*/ 264 h 659"/>
                    <a:gd name="T20" fmla="*/ 648 w 679"/>
                    <a:gd name="T21" fmla="*/ 183 h 659"/>
                    <a:gd name="T22" fmla="*/ 662 w 679"/>
                    <a:gd name="T23" fmla="*/ 124 h 659"/>
                    <a:gd name="T24" fmla="*/ 467 w 679"/>
                    <a:gd name="T25" fmla="*/ 18 h 659"/>
                    <a:gd name="T26" fmla="*/ 182 w 679"/>
                    <a:gd name="T27" fmla="*/ 162 h 659"/>
                    <a:gd name="T28" fmla="*/ 23 w 679"/>
                    <a:gd name="T29" fmla="*/ 439 h 659"/>
                    <a:gd name="T30" fmla="*/ 119 w 679"/>
                    <a:gd name="T31" fmla="*/ 639 h 659"/>
                    <a:gd name="T32" fmla="*/ 178 w 679"/>
                    <a:gd name="T33" fmla="*/ 628 h 6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79" h="659">
                      <a:moveTo>
                        <a:pt x="178" y="628"/>
                      </a:moveTo>
                      <a:cubicBezTo>
                        <a:pt x="201" y="590"/>
                        <a:pt x="251" y="499"/>
                        <a:pt x="269" y="449"/>
                      </a:cubicBezTo>
                      <a:cubicBezTo>
                        <a:pt x="273" y="439"/>
                        <a:pt x="261" y="422"/>
                        <a:pt x="240" y="413"/>
                      </a:cubicBezTo>
                      <a:cubicBezTo>
                        <a:pt x="227" y="407"/>
                        <a:pt x="198" y="403"/>
                        <a:pt x="179" y="404"/>
                      </a:cubicBezTo>
                      <a:cubicBezTo>
                        <a:pt x="164" y="405"/>
                        <a:pt x="144" y="398"/>
                        <a:pt x="151" y="380"/>
                      </a:cubicBezTo>
                      <a:cubicBezTo>
                        <a:pt x="164" y="351"/>
                        <a:pt x="210" y="300"/>
                        <a:pt x="264" y="249"/>
                      </a:cubicBezTo>
                      <a:cubicBezTo>
                        <a:pt x="318" y="198"/>
                        <a:pt x="372" y="154"/>
                        <a:pt x="402" y="143"/>
                      </a:cubicBezTo>
                      <a:cubicBezTo>
                        <a:pt x="419" y="136"/>
                        <a:pt x="426" y="156"/>
                        <a:pt x="424" y="171"/>
                      </a:cubicBezTo>
                      <a:cubicBezTo>
                        <a:pt x="422" y="190"/>
                        <a:pt x="425" y="220"/>
                        <a:pt x="429" y="233"/>
                      </a:cubicBezTo>
                      <a:cubicBezTo>
                        <a:pt x="437" y="255"/>
                        <a:pt x="454" y="267"/>
                        <a:pt x="464" y="264"/>
                      </a:cubicBezTo>
                      <a:cubicBezTo>
                        <a:pt x="514" y="248"/>
                        <a:pt x="609" y="204"/>
                        <a:pt x="648" y="183"/>
                      </a:cubicBezTo>
                      <a:cubicBezTo>
                        <a:pt x="679" y="166"/>
                        <a:pt x="679" y="152"/>
                        <a:pt x="662" y="124"/>
                      </a:cubicBezTo>
                      <a:cubicBezTo>
                        <a:pt x="637" y="84"/>
                        <a:pt x="564" y="0"/>
                        <a:pt x="467" y="18"/>
                      </a:cubicBezTo>
                      <a:cubicBezTo>
                        <a:pt x="335" y="42"/>
                        <a:pt x="237" y="110"/>
                        <a:pt x="182" y="162"/>
                      </a:cubicBezTo>
                      <a:cubicBezTo>
                        <a:pt x="127" y="214"/>
                        <a:pt x="54" y="309"/>
                        <a:pt x="23" y="439"/>
                      </a:cubicBezTo>
                      <a:cubicBezTo>
                        <a:pt x="0" y="535"/>
                        <a:pt x="81" y="612"/>
                        <a:pt x="119" y="639"/>
                      </a:cubicBezTo>
                      <a:cubicBezTo>
                        <a:pt x="146" y="657"/>
                        <a:pt x="160" y="659"/>
                        <a:pt x="178" y="62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" name="Freeform 242">
                  <a:extLst>
                    <a:ext uri="{FF2B5EF4-FFF2-40B4-BE49-F238E27FC236}">
                      <a16:creationId xmlns:a16="http://schemas.microsoft.com/office/drawing/2014/main" id="{A300B939-1AB1-42CC-9F36-5546056C63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6126" y="873126"/>
                  <a:ext cx="66675" cy="66675"/>
                </a:xfrm>
                <a:custGeom>
                  <a:avLst/>
                  <a:gdLst>
                    <a:gd name="T0" fmla="*/ 61 w 96"/>
                    <a:gd name="T1" fmla="*/ 0 h 95"/>
                    <a:gd name="T2" fmla="*/ 0 w 96"/>
                    <a:gd name="T3" fmla="*/ 35 h 95"/>
                    <a:gd name="T4" fmla="*/ 41 w 96"/>
                    <a:gd name="T5" fmla="*/ 95 h 95"/>
                    <a:gd name="T6" fmla="*/ 96 w 96"/>
                    <a:gd name="T7" fmla="*/ 52 h 95"/>
                    <a:gd name="T8" fmla="*/ 61 w 96"/>
                    <a:gd name="T9" fmla="*/ 0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6" h="95">
                      <a:moveTo>
                        <a:pt x="61" y="0"/>
                      </a:moveTo>
                      <a:lnTo>
                        <a:pt x="0" y="35"/>
                      </a:lnTo>
                      <a:cubicBezTo>
                        <a:pt x="12" y="57"/>
                        <a:pt x="26" y="77"/>
                        <a:pt x="41" y="95"/>
                      </a:cubicBezTo>
                      <a:lnTo>
                        <a:pt x="96" y="52"/>
                      </a:lnTo>
                      <a:cubicBezTo>
                        <a:pt x="83" y="36"/>
                        <a:pt x="72" y="19"/>
                        <a:pt x="61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" name="Freeform 243">
                  <a:extLst>
                    <a:ext uri="{FF2B5EF4-FFF2-40B4-BE49-F238E27FC236}">
                      <a16:creationId xmlns:a16="http://schemas.microsoft.com/office/drawing/2014/main" id="{C22F36E4-075C-4C58-B8C5-6ECD363BB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9626" y="939801"/>
                  <a:ext cx="69850" cy="69850"/>
                </a:xfrm>
                <a:custGeom>
                  <a:avLst/>
                  <a:gdLst>
                    <a:gd name="T0" fmla="*/ 0 w 100"/>
                    <a:gd name="T1" fmla="*/ 52 h 99"/>
                    <a:gd name="T2" fmla="*/ 63 w 100"/>
                    <a:gd name="T3" fmla="*/ 99 h 99"/>
                    <a:gd name="T4" fmla="*/ 100 w 100"/>
                    <a:gd name="T5" fmla="*/ 39 h 99"/>
                    <a:gd name="T6" fmla="*/ 47 w 100"/>
                    <a:gd name="T7" fmla="*/ 0 h 99"/>
                    <a:gd name="T8" fmla="*/ 0 w 100"/>
                    <a:gd name="T9" fmla="*/ 52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0" h="99">
                      <a:moveTo>
                        <a:pt x="0" y="52"/>
                      </a:moveTo>
                      <a:cubicBezTo>
                        <a:pt x="20" y="70"/>
                        <a:pt x="41" y="85"/>
                        <a:pt x="63" y="99"/>
                      </a:cubicBezTo>
                      <a:lnTo>
                        <a:pt x="100" y="39"/>
                      </a:lnTo>
                      <a:cubicBezTo>
                        <a:pt x="81" y="28"/>
                        <a:pt x="63" y="15"/>
                        <a:pt x="47" y="0"/>
                      </a:cubicBezTo>
                      <a:lnTo>
                        <a:pt x="0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" name="Freeform 244">
                  <a:extLst>
                    <a:ext uri="{FF2B5EF4-FFF2-40B4-BE49-F238E27FC236}">
                      <a16:creationId xmlns:a16="http://schemas.microsoft.com/office/drawing/2014/main" id="{A80B46C4-457E-431A-8CEC-75200AF8AF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876" y="989013"/>
                  <a:ext cx="66675" cy="61913"/>
                </a:xfrm>
                <a:custGeom>
                  <a:avLst/>
                  <a:gdLst>
                    <a:gd name="T0" fmla="*/ 0 w 96"/>
                    <a:gd name="T1" fmla="*/ 65 h 89"/>
                    <a:gd name="T2" fmla="*/ 82 w 96"/>
                    <a:gd name="T3" fmla="*/ 89 h 89"/>
                    <a:gd name="T4" fmla="*/ 96 w 96"/>
                    <a:gd name="T5" fmla="*/ 20 h 89"/>
                    <a:gd name="T6" fmla="*/ 25 w 96"/>
                    <a:gd name="T7" fmla="*/ 0 h 89"/>
                    <a:gd name="T8" fmla="*/ 0 w 96"/>
                    <a:gd name="T9" fmla="*/ 65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6" h="89">
                      <a:moveTo>
                        <a:pt x="0" y="65"/>
                      </a:moveTo>
                      <a:cubicBezTo>
                        <a:pt x="26" y="76"/>
                        <a:pt x="54" y="83"/>
                        <a:pt x="82" y="89"/>
                      </a:cubicBezTo>
                      <a:lnTo>
                        <a:pt x="96" y="20"/>
                      </a:lnTo>
                      <a:cubicBezTo>
                        <a:pt x="72" y="15"/>
                        <a:pt x="48" y="9"/>
                        <a:pt x="25" y="0"/>
                      </a:cubicBezTo>
                      <a:lnTo>
                        <a:pt x="0" y="65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" name="Freeform 245">
                  <a:extLst>
                    <a:ext uri="{FF2B5EF4-FFF2-40B4-BE49-F238E27FC236}">
                      <a16:creationId xmlns:a16="http://schemas.microsoft.com/office/drawing/2014/main" id="{D979F907-D537-47F6-9BEF-60168E3B06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18239" y="588963"/>
                  <a:ext cx="238125" cy="433388"/>
                </a:xfrm>
                <a:custGeom>
                  <a:avLst/>
                  <a:gdLst>
                    <a:gd name="T0" fmla="*/ 160 w 344"/>
                    <a:gd name="T1" fmla="*/ 35 h 625"/>
                    <a:gd name="T2" fmla="*/ 16 w 344"/>
                    <a:gd name="T3" fmla="*/ 556 h 625"/>
                    <a:gd name="T4" fmla="*/ 0 w 344"/>
                    <a:gd name="T5" fmla="*/ 564 h 625"/>
                    <a:gd name="T6" fmla="*/ 35 w 344"/>
                    <a:gd name="T7" fmla="*/ 625 h 625"/>
                    <a:gd name="T8" fmla="*/ 51 w 344"/>
                    <a:gd name="T9" fmla="*/ 617 h 625"/>
                    <a:gd name="T10" fmla="*/ 222 w 344"/>
                    <a:gd name="T11" fmla="*/ 0 h 625"/>
                    <a:gd name="T12" fmla="*/ 160 w 344"/>
                    <a:gd name="T13" fmla="*/ 35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4" h="625">
                      <a:moveTo>
                        <a:pt x="160" y="35"/>
                      </a:moveTo>
                      <a:cubicBezTo>
                        <a:pt x="264" y="219"/>
                        <a:pt x="199" y="452"/>
                        <a:pt x="16" y="556"/>
                      </a:cubicBezTo>
                      <a:cubicBezTo>
                        <a:pt x="11" y="559"/>
                        <a:pt x="6" y="561"/>
                        <a:pt x="0" y="564"/>
                      </a:cubicBezTo>
                      <a:lnTo>
                        <a:pt x="35" y="625"/>
                      </a:lnTo>
                      <a:cubicBezTo>
                        <a:pt x="40" y="623"/>
                        <a:pt x="45" y="620"/>
                        <a:pt x="51" y="617"/>
                      </a:cubicBezTo>
                      <a:cubicBezTo>
                        <a:pt x="268" y="494"/>
                        <a:pt x="344" y="218"/>
                        <a:pt x="222" y="0"/>
                      </a:cubicBezTo>
                      <a:lnTo>
                        <a:pt x="160" y="35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0" name="Freeform 246">
                  <a:extLst>
                    <a:ext uri="{FF2B5EF4-FFF2-40B4-BE49-F238E27FC236}">
                      <a16:creationId xmlns:a16="http://schemas.microsoft.com/office/drawing/2014/main" id="{2AF21164-899C-4AA4-8A56-A903EBD13A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02351" y="1000126"/>
                  <a:ext cx="71438" cy="55563"/>
                </a:xfrm>
                <a:custGeom>
                  <a:avLst/>
                  <a:gdLst>
                    <a:gd name="T0" fmla="*/ 0 w 101"/>
                    <a:gd name="T1" fmla="*/ 11 h 81"/>
                    <a:gd name="T2" fmla="*/ 1 w 101"/>
                    <a:gd name="T3" fmla="*/ 81 h 81"/>
                    <a:gd name="T4" fmla="*/ 101 w 101"/>
                    <a:gd name="T5" fmla="*/ 68 h 81"/>
                    <a:gd name="T6" fmla="*/ 85 w 101"/>
                    <a:gd name="T7" fmla="*/ 0 h 81"/>
                    <a:gd name="T8" fmla="*/ 0 w 101"/>
                    <a:gd name="T9" fmla="*/ 1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1" h="81">
                      <a:moveTo>
                        <a:pt x="0" y="11"/>
                      </a:moveTo>
                      <a:lnTo>
                        <a:pt x="1" y="81"/>
                      </a:lnTo>
                      <a:cubicBezTo>
                        <a:pt x="34" y="81"/>
                        <a:pt x="68" y="76"/>
                        <a:pt x="101" y="68"/>
                      </a:cubicBezTo>
                      <a:lnTo>
                        <a:pt x="85" y="0"/>
                      </a:lnTo>
                      <a:cubicBezTo>
                        <a:pt x="57" y="7"/>
                        <a:pt x="29" y="11"/>
                        <a:pt x="0" y="1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1" name="Freeform 247">
                  <a:extLst>
                    <a:ext uri="{FF2B5EF4-FFF2-40B4-BE49-F238E27FC236}">
                      <a16:creationId xmlns:a16="http://schemas.microsoft.com/office/drawing/2014/main" id="{34AAB3F2-4C85-4215-8E92-1838050ECD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9039" y="496888"/>
                  <a:ext cx="123825" cy="112713"/>
                </a:xfrm>
                <a:custGeom>
                  <a:avLst/>
                  <a:gdLst>
                    <a:gd name="T0" fmla="*/ 20 w 178"/>
                    <a:gd name="T1" fmla="*/ 0 h 163"/>
                    <a:gd name="T2" fmla="*/ 0 w 178"/>
                    <a:gd name="T3" fmla="*/ 163 h 163"/>
                    <a:gd name="T4" fmla="*/ 178 w 178"/>
                    <a:gd name="T5" fmla="*/ 47 h 163"/>
                    <a:gd name="T6" fmla="*/ 20 w 178"/>
                    <a:gd name="T7" fmla="*/ 0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8" h="163">
                      <a:moveTo>
                        <a:pt x="20" y="0"/>
                      </a:moveTo>
                      <a:cubicBezTo>
                        <a:pt x="15" y="45"/>
                        <a:pt x="4" y="123"/>
                        <a:pt x="0" y="163"/>
                      </a:cubicBezTo>
                      <a:cubicBezTo>
                        <a:pt x="17" y="152"/>
                        <a:pt x="161" y="58"/>
                        <a:pt x="178" y="47"/>
                      </a:cubicBezTo>
                      <a:cubicBezTo>
                        <a:pt x="139" y="35"/>
                        <a:pt x="63" y="13"/>
                        <a:pt x="2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fr-FR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321883D-04CD-4F19-A531-F7C7A12281E8}"/>
                </a:ext>
              </a:extLst>
            </p:cNvPr>
            <p:cNvSpPr/>
            <p:nvPr/>
          </p:nvSpPr>
          <p:spPr>
            <a:xfrm>
              <a:off x="341900" y="5788569"/>
              <a:ext cx="1428675" cy="2659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>
                  <a:solidFill>
                    <a:sysClr val="windowText" lastClr="000000"/>
                  </a:solidFill>
                </a:rPr>
                <a:t>Voice Data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9446C9D-97AB-4810-BEE4-D83B508E4F81}"/>
              </a:ext>
            </a:extLst>
          </p:cNvPr>
          <p:cNvGrpSpPr/>
          <p:nvPr/>
        </p:nvGrpSpPr>
        <p:grpSpPr>
          <a:xfrm>
            <a:off x="2539132" y="2056297"/>
            <a:ext cx="713772" cy="713772"/>
            <a:chOff x="1992853" y="1873417"/>
            <a:chExt cx="713772" cy="71377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1C6B7EAA-C2F8-47AB-8584-5A309355E5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92853" y="1873417"/>
              <a:ext cx="713772" cy="713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999A58-2178-4C42-B8DD-0B658071A1B8}"/>
                </a:ext>
              </a:extLst>
            </p:cNvPr>
            <p:cNvSpPr txBox="1"/>
            <p:nvPr/>
          </p:nvSpPr>
          <p:spPr>
            <a:xfrm>
              <a:off x="2138495" y="2151909"/>
              <a:ext cx="42248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CSV</a:t>
              </a:r>
              <a:endParaRPr lang="en-CA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F40570A-6251-4C7B-9AF0-1C776EC36C1A}"/>
              </a:ext>
            </a:extLst>
          </p:cNvPr>
          <p:cNvGrpSpPr/>
          <p:nvPr/>
        </p:nvGrpSpPr>
        <p:grpSpPr>
          <a:xfrm>
            <a:off x="2539132" y="3228734"/>
            <a:ext cx="713772" cy="713772"/>
            <a:chOff x="1969303" y="2947706"/>
            <a:chExt cx="713772" cy="713772"/>
          </a:xfrm>
        </p:grpSpPr>
        <p:pic>
          <p:nvPicPr>
            <p:cNvPr id="61" name="Picture 2">
              <a:extLst>
                <a:ext uri="{FF2B5EF4-FFF2-40B4-BE49-F238E27FC236}">
                  <a16:creationId xmlns:a16="http://schemas.microsoft.com/office/drawing/2014/main" id="{FFD136FD-BE68-421D-91B4-2AEFD80ADA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9303" y="2947706"/>
              <a:ext cx="713772" cy="713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75B9814-1666-4A90-9021-5F6348308CB3}"/>
                </a:ext>
              </a:extLst>
            </p:cNvPr>
            <p:cNvSpPr txBox="1"/>
            <p:nvPr/>
          </p:nvSpPr>
          <p:spPr>
            <a:xfrm>
              <a:off x="2050312" y="3213116"/>
              <a:ext cx="5517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Audio</a:t>
              </a:r>
              <a:endParaRPr lang="en-CA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CB9743D7-D4C6-414B-9A3C-77BDE0E9EAA7}"/>
              </a:ext>
            </a:extLst>
          </p:cNvPr>
          <p:cNvSpPr txBox="1"/>
          <p:nvPr/>
        </p:nvSpPr>
        <p:spPr>
          <a:xfrm>
            <a:off x="2527904" y="1797679"/>
            <a:ext cx="7362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WS S3</a:t>
            </a:r>
            <a:endParaRPr lang="en-CA" sz="1400" dirty="0"/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F06E3074-2295-4AC1-AAF4-C2281A03DA0A}"/>
              </a:ext>
            </a:extLst>
          </p:cNvPr>
          <p:cNvCxnSpPr>
            <a:cxnSpLocks/>
            <a:endCxn id="1026" idx="1"/>
          </p:cNvCxnSpPr>
          <p:nvPr/>
        </p:nvCxnSpPr>
        <p:spPr>
          <a:xfrm>
            <a:off x="1803861" y="2403330"/>
            <a:ext cx="735271" cy="98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70C7CDB4-F56F-4B3D-A420-2F3DD61E6CA3}"/>
              </a:ext>
            </a:extLst>
          </p:cNvPr>
          <p:cNvCxnSpPr>
            <a:cxnSpLocks/>
          </p:cNvCxnSpPr>
          <p:nvPr/>
        </p:nvCxnSpPr>
        <p:spPr>
          <a:xfrm>
            <a:off x="1795777" y="3611417"/>
            <a:ext cx="735271" cy="98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97C107C-EFB1-47FA-B691-B03B9C5DCE9B}"/>
              </a:ext>
            </a:extLst>
          </p:cNvPr>
          <p:cNvGrpSpPr/>
          <p:nvPr/>
        </p:nvGrpSpPr>
        <p:grpSpPr>
          <a:xfrm>
            <a:off x="3937188" y="4215505"/>
            <a:ext cx="2475896" cy="1463363"/>
            <a:chOff x="3485893" y="3412979"/>
            <a:chExt cx="2475896" cy="1463363"/>
          </a:xfrm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221C1117-2AA5-43DF-817C-6B498A80176E}"/>
                </a:ext>
              </a:extLst>
            </p:cNvPr>
            <p:cNvSpPr/>
            <p:nvPr/>
          </p:nvSpPr>
          <p:spPr>
            <a:xfrm>
              <a:off x="3485893" y="3412979"/>
              <a:ext cx="2475896" cy="146336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028" name="Picture 4" descr="Amazon Unveils the Technology Behind the AWS SageMaker">
              <a:extLst>
                <a:ext uri="{FF2B5EF4-FFF2-40B4-BE49-F238E27FC236}">
                  <a16:creationId xmlns:a16="http://schemas.microsoft.com/office/drawing/2014/main" id="{5EB858A6-E55E-42FC-9099-A9C46ED729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5407" y="3752570"/>
              <a:ext cx="2056868" cy="784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6D30BBBF-C1B0-4B2A-9DFA-F5E7476ABB6F}"/>
              </a:ext>
            </a:extLst>
          </p:cNvPr>
          <p:cNvCxnSpPr>
            <a:cxnSpLocks/>
            <a:endCxn id="1028" idx="1"/>
          </p:cNvCxnSpPr>
          <p:nvPr/>
        </p:nvCxnSpPr>
        <p:spPr>
          <a:xfrm>
            <a:off x="1948177" y="4917388"/>
            <a:ext cx="2198525" cy="297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08BCFD0-ADDB-4AD8-902E-4F9C0DA03DD3}"/>
              </a:ext>
            </a:extLst>
          </p:cNvPr>
          <p:cNvCxnSpPr>
            <a:cxnSpLocks/>
          </p:cNvCxnSpPr>
          <p:nvPr/>
        </p:nvCxnSpPr>
        <p:spPr>
          <a:xfrm flipH="1" flipV="1">
            <a:off x="1905358" y="5061608"/>
            <a:ext cx="2198524" cy="152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452D768D-6826-416B-B7AE-79DA51CDC574}"/>
              </a:ext>
            </a:extLst>
          </p:cNvPr>
          <p:cNvCxnSpPr>
            <a:stCxn id="1026" idx="3"/>
            <a:endCxn id="1028" idx="0"/>
          </p:cNvCxnSpPr>
          <p:nvPr/>
        </p:nvCxnSpPr>
        <p:spPr>
          <a:xfrm>
            <a:off x="3252904" y="2413183"/>
            <a:ext cx="1922232" cy="214191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5A2C64B3-ADA1-42ED-91AC-CDB062663F48}"/>
              </a:ext>
            </a:extLst>
          </p:cNvPr>
          <p:cNvCxnSpPr>
            <a:cxnSpLocks/>
            <a:stCxn id="61" idx="3"/>
            <a:endCxn id="1028" idx="0"/>
          </p:cNvCxnSpPr>
          <p:nvPr/>
        </p:nvCxnSpPr>
        <p:spPr>
          <a:xfrm>
            <a:off x="3252904" y="3585620"/>
            <a:ext cx="1922232" cy="96947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72A20727-3C9C-478A-AA1A-33909A206DF0}"/>
              </a:ext>
            </a:extLst>
          </p:cNvPr>
          <p:cNvSpPr txBox="1"/>
          <p:nvPr/>
        </p:nvSpPr>
        <p:spPr>
          <a:xfrm>
            <a:off x="2620141" y="4618475"/>
            <a:ext cx="426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I</a:t>
            </a:r>
            <a:endParaRPr lang="en-CA" sz="1400" dirty="0"/>
          </a:p>
        </p:txBody>
      </p:sp>
      <p:pic>
        <p:nvPicPr>
          <p:cNvPr id="1032" name="Picture 8" descr="Amazon Relational Database Service (RDS) – AWS">
            <a:extLst>
              <a:ext uri="{FF2B5EF4-FFF2-40B4-BE49-F238E27FC236}">
                <a16:creationId xmlns:a16="http://schemas.microsoft.com/office/drawing/2014/main" id="{308A6BB2-45DE-4A89-AE15-056C7C6C4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846" y="3541159"/>
            <a:ext cx="1314809" cy="131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B04931CB-16D5-4D82-AF1B-1D1ADE555857}"/>
              </a:ext>
            </a:extLst>
          </p:cNvPr>
          <p:cNvSpPr txBox="1"/>
          <p:nvPr/>
        </p:nvSpPr>
        <p:spPr>
          <a:xfrm>
            <a:off x="7738577" y="3349547"/>
            <a:ext cx="8532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WS RDS</a:t>
            </a:r>
            <a:endParaRPr lang="en-CA" sz="1400" dirty="0"/>
          </a:p>
        </p:txBody>
      </p:sp>
      <p:pic>
        <p:nvPicPr>
          <p:cNvPr id="1034" name="Picture 10" descr="Amazon, copy, database, db, instance, mysql, rds icon">
            <a:extLst>
              <a:ext uri="{FF2B5EF4-FFF2-40B4-BE49-F238E27FC236}">
                <a16:creationId xmlns:a16="http://schemas.microsoft.com/office/drawing/2014/main" id="{C4033FD7-DB32-4EA7-BF73-979967A2A3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1076" y="3728370"/>
            <a:ext cx="1011432" cy="1011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33850B47-6734-4C74-949D-B44F0CF3E07A}"/>
              </a:ext>
            </a:extLst>
          </p:cNvPr>
          <p:cNvCxnSpPr>
            <a:cxnSpLocks/>
            <a:stCxn id="1028" idx="3"/>
            <a:endCxn id="1032" idx="1"/>
          </p:cNvCxnSpPr>
          <p:nvPr/>
        </p:nvCxnSpPr>
        <p:spPr>
          <a:xfrm flipV="1">
            <a:off x="6203570" y="4198564"/>
            <a:ext cx="686276" cy="74862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6" name="Picture 12" descr="dash-stock-tickers-demo-app/app.py at master · plotly/dash-stock ...">
            <a:extLst>
              <a:ext uri="{FF2B5EF4-FFF2-40B4-BE49-F238E27FC236}">
                <a16:creationId xmlns:a16="http://schemas.microsoft.com/office/drawing/2014/main" id="{1404E27E-FC32-4DD8-A72D-1C6280CBC6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3970" y="2921338"/>
            <a:ext cx="1427310" cy="640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Image result for dashboard png">
            <a:extLst>
              <a:ext uri="{FF2B5EF4-FFF2-40B4-BE49-F238E27FC236}">
                <a16:creationId xmlns:a16="http://schemas.microsoft.com/office/drawing/2014/main" id="{3D378FBD-0896-48CF-AC88-7AE01D305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873" y="3869259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dashboard png">
            <a:extLst>
              <a:ext uri="{FF2B5EF4-FFF2-40B4-BE49-F238E27FC236}">
                <a16:creationId xmlns:a16="http://schemas.microsoft.com/office/drawing/2014/main" id="{963ABBFC-1D93-4A82-A100-16B6A3DF4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473" y="3965779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Image result for dashboard png">
            <a:extLst>
              <a:ext uri="{FF2B5EF4-FFF2-40B4-BE49-F238E27FC236}">
                <a16:creationId xmlns:a16="http://schemas.microsoft.com/office/drawing/2014/main" id="{E3068CEA-DE43-47BC-9B73-81DDC72B5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1073" y="4082619"/>
            <a:ext cx="1100207" cy="82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0D9E3B51-DDE7-4E57-9A98-61385AF7BBAA}"/>
              </a:ext>
            </a:extLst>
          </p:cNvPr>
          <p:cNvCxnSpPr>
            <a:cxnSpLocks/>
            <a:stCxn id="88" idx="3"/>
            <a:endCxn id="98" idx="1"/>
          </p:cNvCxnSpPr>
          <p:nvPr/>
        </p:nvCxnSpPr>
        <p:spPr>
          <a:xfrm flipV="1">
            <a:off x="9344639" y="4005297"/>
            <a:ext cx="455658" cy="28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4010FED7-79D5-4D24-8BFD-3037DDCA7CA3}"/>
              </a:ext>
            </a:extLst>
          </p:cNvPr>
          <p:cNvSpPr/>
          <p:nvPr/>
        </p:nvSpPr>
        <p:spPr>
          <a:xfrm>
            <a:off x="301841" y="1293310"/>
            <a:ext cx="11798423" cy="4956570"/>
          </a:xfrm>
          <a:prstGeom prst="round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038" name="Picture 14" descr="Amazon Web Services - Wikipedia">
            <a:extLst>
              <a:ext uri="{FF2B5EF4-FFF2-40B4-BE49-F238E27FC236}">
                <a16:creationId xmlns:a16="http://schemas.microsoft.com/office/drawing/2014/main" id="{BA2D6643-6160-4080-BE3D-A6D99F4779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8620" y="612270"/>
            <a:ext cx="2010703" cy="1203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835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witter_POWER_USER_SEPARATOR_ICONS_bird_POWER_USER_SEPARATOR_ICONS_social-media_POWER_USER_SEPARATOR_ICONS_twee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base*wireframes*mockup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stomer*service*call center*customer care*hotline*people*telephone*lin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stomer*service*call center*customer care*hotline*people*telephone*li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witter_POWER_USER_SEPARATOR_ICONS_bird_POWER_USER_SEPARATOR_ICONS_social-media_POWER_USER_SEPARATOR_ICONS_twe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ie chart*graph*statistics*data*figures*numbers*analytics*analysis*dashboard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rea chart*graph*statistics*data*figures*numbers*analytics*analysis*dash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ized_POWER_USER_SEPARATOR_ICONS_computer_POWER_USER_SEPARATOR_ICONS_data_POWER_USER_SEPARATOR_ICONS_digital_POWER_USER_SEPARATOR_ICONS_digitized-object_POWER_USER_SEPARATOR_ICONS_file_POWER_USER_SEPARATOR_ICONS_graph_POWER_USER_SEPARATOR_ICONS_technolog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ized_POWER_USER_SEPARATOR_ICONS_computer_POWER_USER_SEPARATOR_ICONS_data_POWER_USER_SEPARATOR_ICONS_digital_POWER_USER_SEPARATOR_ICONS_digitized-object_POWER_USER_SEPARATOR_ICONS_file_POWER_USER_SEPARATOR_ICONS_graph_POWER_USER_SEPARATOR_ICONS_technolog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ized_POWER_USER_SEPARATOR_ICONS_computer_POWER_USER_SEPARATOR_ICONS_data_POWER_USER_SEPARATOR_ICONS_digital_POWER_USER_SEPARATOR_ICONS_digitized-object_POWER_USER_SEPARATOR_ICONS_file_POWER_USER_SEPARATOR_ICONS_graph_POWER_USER_SEPARATOR_ICONS_technolog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ing Plan 12">
      <a:dk1>
        <a:srgbClr val="181717"/>
      </a:dk1>
      <a:lt1>
        <a:srgbClr val="FFFFFF"/>
      </a:lt1>
      <a:dk2>
        <a:srgbClr val="181717"/>
      </a:dk2>
      <a:lt2>
        <a:srgbClr val="FFFFFF"/>
      </a:lt2>
      <a:accent1>
        <a:srgbClr val="137781"/>
      </a:accent1>
      <a:accent2>
        <a:srgbClr val="009F88"/>
      </a:accent2>
      <a:accent3>
        <a:srgbClr val="00BF84"/>
      </a:accent3>
      <a:accent4>
        <a:srgbClr val="00D177"/>
      </a:accent4>
      <a:accent5>
        <a:srgbClr val="00D55B"/>
      </a:accent5>
      <a:accent6>
        <a:srgbClr val="1FB945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</TotalTime>
  <Words>718</Words>
  <Application>Microsoft Office PowerPoint</Application>
  <PresentationFormat>Widescreen</PresentationFormat>
  <Paragraphs>179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Calibri Light</vt:lpstr>
      <vt:lpstr>Arial</vt:lpstr>
      <vt:lpstr>Arial Unicode MS</vt:lpstr>
      <vt:lpstr>Calibri</vt:lpstr>
      <vt:lpstr>Arial Narrow</vt:lpstr>
      <vt:lpstr>Office Theme</vt:lpstr>
      <vt:lpstr>PowerPoint Presentation</vt:lpstr>
      <vt:lpstr>TABLE OF 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uthvi Ingole</dc:creator>
  <cp:lastModifiedBy>Ahmad Barakat</cp:lastModifiedBy>
  <cp:revision>13</cp:revision>
  <dcterms:created xsi:type="dcterms:W3CDTF">2020-03-30T02:06:00Z</dcterms:created>
  <dcterms:modified xsi:type="dcterms:W3CDTF">2020-04-03T12:43:01Z</dcterms:modified>
</cp:coreProperties>
</file>